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ink/ink1.xml" ContentType="application/inkml+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85" r:id="rId4"/>
    <p:sldMasterId id="2147483691" r:id="rId5"/>
    <p:sldMasterId id="2147483706" r:id="rId6"/>
  </p:sldMasterIdLst>
  <p:sldIdLst>
    <p:sldId id="4213" r:id="rId7"/>
    <p:sldId id="4415" r:id="rId8"/>
    <p:sldId id="4412" r:id="rId9"/>
    <p:sldId id="3965" r:id="rId10"/>
    <p:sldId id="3968" r:id="rId11"/>
    <p:sldId id="4256" r:id="rId12"/>
    <p:sldId id="4356" r:id="rId13"/>
    <p:sldId id="4358" r:id="rId14"/>
    <p:sldId id="4355" r:id="rId15"/>
    <p:sldId id="4354" r:id="rId16"/>
    <p:sldId id="4608" r:id="rId17"/>
    <p:sldId id="4579" r:id="rId18"/>
    <p:sldId id="4580" r:id="rId19"/>
    <p:sldId id="4581" r:id="rId20"/>
    <p:sldId id="4582" r:id="rId21"/>
    <p:sldId id="4583" r:id="rId22"/>
    <p:sldId id="4584" r:id="rId23"/>
    <p:sldId id="4585" r:id="rId24"/>
    <p:sldId id="4614" r:id="rId25"/>
    <p:sldId id="4586" r:id="rId26"/>
    <p:sldId id="4588" r:id="rId27"/>
    <p:sldId id="4589" r:id="rId28"/>
    <p:sldId id="3878" r:id="rId29"/>
    <p:sldId id="3874" r:id="rId30"/>
    <p:sldId id="4330" r:id="rId31"/>
    <p:sldId id="4590" r:id="rId32"/>
    <p:sldId id="4604" r:id="rId33"/>
    <p:sldId id="4591" r:id="rId34"/>
    <p:sldId id="4592" r:id="rId35"/>
    <p:sldId id="4593" r:id="rId36"/>
    <p:sldId id="4594" r:id="rId37"/>
    <p:sldId id="4595" r:id="rId38"/>
    <p:sldId id="4597" r:id="rId39"/>
    <p:sldId id="4596" r:id="rId40"/>
    <p:sldId id="4598" r:id="rId41"/>
    <p:sldId id="4610" r:id="rId42"/>
    <p:sldId id="4611" r:id="rId43"/>
    <p:sldId id="4612" r:id="rId44"/>
    <p:sldId id="4600" r:id="rId45"/>
    <p:sldId id="4613" r:id="rId46"/>
    <p:sldId id="4605" r:id="rId47"/>
    <p:sldId id="3316" r:id="rId48"/>
    <p:sldId id="4251" r:id="rId49"/>
    <p:sldId id="4537" r:id="rId50"/>
    <p:sldId id="4538" r:id="rId51"/>
    <p:sldId id="4539" r:id="rId52"/>
    <p:sldId id="4540" r:id="rId53"/>
    <p:sldId id="4252" r:id="rId54"/>
    <p:sldId id="4534" r:id="rId55"/>
    <p:sldId id="4254" r:id="rId56"/>
    <p:sldId id="4535" r:id="rId57"/>
    <p:sldId id="4257" r:id="rId58"/>
    <p:sldId id="4258" r:id="rId59"/>
    <p:sldId id="4259" r:id="rId60"/>
    <p:sldId id="4260" r:id="rId61"/>
    <p:sldId id="4261" r:id="rId62"/>
    <p:sldId id="4262" r:id="rId63"/>
    <p:sldId id="4263" r:id="rId64"/>
    <p:sldId id="4212" r:id="rId65"/>
    <p:sldId id="4216" r:id="rId66"/>
    <p:sldId id="4219" r:id="rId67"/>
    <p:sldId id="4220" r:id="rId68"/>
    <p:sldId id="4222" r:id="rId69"/>
    <p:sldId id="4225" r:id="rId70"/>
    <p:sldId id="4230" r:id="rId71"/>
    <p:sldId id="4232" r:id="rId72"/>
    <p:sldId id="4231" r:id="rId73"/>
    <p:sldId id="4235" r:id="rId74"/>
    <p:sldId id="4253" r:id="rId75"/>
    <p:sldId id="4228" r:id="rId76"/>
    <p:sldId id="4226" r:id="rId77"/>
    <p:sldId id="4229" r:id="rId78"/>
    <p:sldId id="4234" r:id="rId79"/>
    <p:sldId id="4615" r:id="rId80"/>
    <p:sldId id="4616" r:id="rId81"/>
    <p:sldId id="4617" r:id="rId82"/>
    <p:sldId id="4607" r:id="rId83"/>
    <p:sldId id="4609" r:id="rId8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D7277C3-5615-434A-A528-067A3D535B9E}" v="74" dt="2023-12-25T12:13:42.9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p:scale>
          <a:sx n="150" d="100"/>
          <a:sy n="150" d="100"/>
        </p:scale>
        <p:origin x="636" y="256"/>
      </p:cViewPr>
      <p:guideLst/>
    </p:cSldViewPr>
  </p:slideViewPr>
  <p:notesTextViewPr>
    <p:cViewPr>
      <p:scale>
        <a:sx n="1" d="1"/>
        <a:sy n="1" d="1"/>
      </p:scale>
      <p:origin x="0" y="0"/>
    </p:cViewPr>
  </p:notesTextViewPr>
  <p:sorterViewPr>
    <p:cViewPr>
      <p:scale>
        <a:sx n="131" d="100"/>
        <a:sy n="131" d="100"/>
      </p:scale>
      <p:origin x="0" y="-12072"/>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microsoft.com/office/2016/11/relationships/changesInfo" Target="changesInfos/changesInfo1.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5.xml"/><Relationship Id="rId90" Type="http://schemas.microsoft.com/office/2015/10/relationships/revisionInfo" Target="revisionInfo.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theme" Target="theme/theme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darshan Chakravarthi" userId="9632d19e-631d-46a5-9e9a-d9cc496f17d0" providerId="ADAL" clId="{AD7277C3-5615-434A-A528-067A3D535B9E}"/>
    <pc:docChg chg="undo custSel addSld delSld modSld sldOrd">
      <pc:chgData name="Sudarshan Chakravarthi" userId="9632d19e-631d-46a5-9e9a-d9cc496f17d0" providerId="ADAL" clId="{AD7277C3-5615-434A-A528-067A3D535B9E}" dt="2023-12-25T12:48:13.464" v="8026" actId="1036"/>
      <pc:docMkLst>
        <pc:docMk/>
      </pc:docMkLst>
      <pc:sldChg chg="addSp modSp mod">
        <pc:chgData name="Sudarshan Chakravarthi" userId="9632d19e-631d-46a5-9e9a-d9cc496f17d0" providerId="ADAL" clId="{AD7277C3-5615-434A-A528-067A3D535B9E}" dt="2023-12-23T16:43:02.216" v="898" actId="33524"/>
        <pc:sldMkLst>
          <pc:docMk/>
          <pc:sldMk cId="1512399725" sldId="3878"/>
        </pc:sldMkLst>
        <pc:spChg chg="add mod">
          <ac:chgData name="Sudarshan Chakravarthi" userId="9632d19e-631d-46a5-9e9a-d9cc496f17d0" providerId="ADAL" clId="{AD7277C3-5615-434A-A528-067A3D535B9E}" dt="2023-12-23T16:42:56.197" v="897" actId="1076"/>
          <ac:spMkLst>
            <pc:docMk/>
            <pc:sldMk cId="1512399725" sldId="3878"/>
            <ac:spMk id="2" creationId="{E04BBC1D-EC35-1059-BA71-CDD22F90CB1E}"/>
          </ac:spMkLst>
        </pc:spChg>
        <pc:graphicFrameChg chg="modGraphic">
          <ac:chgData name="Sudarshan Chakravarthi" userId="9632d19e-631d-46a5-9e9a-d9cc496f17d0" providerId="ADAL" clId="{AD7277C3-5615-434A-A528-067A3D535B9E}" dt="2023-12-23T16:43:02.216" v="898" actId="33524"/>
          <ac:graphicFrameMkLst>
            <pc:docMk/>
            <pc:sldMk cId="1512399725" sldId="3878"/>
            <ac:graphicFrameMk id="4" creationId="{C207D49A-AF14-8AC6-FCA3-D731D252A944}"/>
          </ac:graphicFrameMkLst>
        </pc:graphicFrameChg>
      </pc:sldChg>
      <pc:sldChg chg="addSp delSp modSp mod">
        <pc:chgData name="Sudarshan Chakravarthi" userId="9632d19e-631d-46a5-9e9a-d9cc496f17d0" providerId="ADAL" clId="{AD7277C3-5615-434A-A528-067A3D535B9E}" dt="2023-07-07T15:17:01.154" v="22" actId="1076"/>
        <pc:sldMkLst>
          <pc:docMk/>
          <pc:sldMk cId="1805402828" sldId="4213"/>
        </pc:sldMkLst>
        <pc:spChg chg="mod ord">
          <ac:chgData name="Sudarshan Chakravarthi" userId="9632d19e-631d-46a5-9e9a-d9cc496f17d0" providerId="ADAL" clId="{AD7277C3-5615-434A-A528-067A3D535B9E}" dt="2023-07-07T15:17:01.154" v="22" actId="1076"/>
          <ac:spMkLst>
            <pc:docMk/>
            <pc:sldMk cId="1805402828" sldId="4213"/>
            <ac:spMk id="6" creationId="{BD7AA0B0-B891-B97B-6E9D-8856CC601784}"/>
          </ac:spMkLst>
        </pc:spChg>
        <pc:spChg chg="mod">
          <ac:chgData name="Sudarshan Chakravarthi" userId="9632d19e-631d-46a5-9e9a-d9cc496f17d0" providerId="ADAL" clId="{AD7277C3-5615-434A-A528-067A3D535B9E}" dt="2023-07-07T15:17:01.154" v="22" actId="1076"/>
          <ac:spMkLst>
            <pc:docMk/>
            <pc:sldMk cId="1805402828" sldId="4213"/>
            <ac:spMk id="7" creationId="{693BF65E-9573-1BDA-9CE4-E021C94FC7F8}"/>
          </ac:spMkLst>
        </pc:spChg>
        <pc:spChg chg="add mod">
          <ac:chgData name="Sudarshan Chakravarthi" userId="9632d19e-631d-46a5-9e9a-d9cc496f17d0" providerId="ADAL" clId="{AD7277C3-5615-434A-A528-067A3D535B9E}" dt="2023-07-07T15:17:01.154" v="22" actId="1076"/>
          <ac:spMkLst>
            <pc:docMk/>
            <pc:sldMk cId="1805402828" sldId="4213"/>
            <ac:spMk id="9" creationId="{ADE08CAB-FF94-7504-9663-87897CF9C15A}"/>
          </ac:spMkLst>
        </pc:spChg>
        <pc:grpChg chg="add mod">
          <ac:chgData name="Sudarshan Chakravarthi" userId="9632d19e-631d-46a5-9e9a-d9cc496f17d0" providerId="ADAL" clId="{AD7277C3-5615-434A-A528-067A3D535B9E}" dt="2023-07-07T15:17:01.154" v="22" actId="1076"/>
          <ac:grpSpMkLst>
            <pc:docMk/>
            <pc:sldMk cId="1805402828" sldId="4213"/>
            <ac:grpSpMk id="10" creationId="{60A4C5DD-01B8-0662-32B9-12366D78B57D}"/>
          </ac:grpSpMkLst>
        </pc:grpChg>
        <pc:picChg chg="del mod">
          <ac:chgData name="Sudarshan Chakravarthi" userId="9632d19e-631d-46a5-9e9a-d9cc496f17d0" providerId="ADAL" clId="{AD7277C3-5615-434A-A528-067A3D535B9E}" dt="2023-07-07T15:16:49.617" v="20" actId="478"/>
          <ac:picMkLst>
            <pc:docMk/>
            <pc:sldMk cId="1805402828" sldId="4213"/>
            <ac:picMk id="8" creationId="{F9D82CE9-F93B-3196-EA9F-725DAAE988AB}"/>
          </ac:picMkLst>
        </pc:picChg>
        <pc:picChg chg="add mod">
          <ac:chgData name="Sudarshan Chakravarthi" userId="9632d19e-631d-46a5-9e9a-d9cc496f17d0" providerId="ADAL" clId="{AD7277C3-5615-434A-A528-067A3D535B9E}" dt="2023-07-07T15:17:01.154" v="22" actId="1076"/>
          <ac:picMkLst>
            <pc:docMk/>
            <pc:sldMk cId="1805402828" sldId="4213"/>
            <ac:picMk id="1026" creationId="{A7B5B334-856E-AAF4-5600-49BD4A9903FD}"/>
          </ac:picMkLst>
        </pc:picChg>
      </pc:sldChg>
      <pc:sldChg chg="modSp mod">
        <pc:chgData name="Sudarshan Chakravarthi" userId="9632d19e-631d-46a5-9e9a-d9cc496f17d0" providerId="ADAL" clId="{AD7277C3-5615-434A-A528-067A3D535B9E}" dt="2023-12-25T11:25:29.527" v="5115" actId="404"/>
        <pc:sldMkLst>
          <pc:docMk/>
          <pc:sldMk cId="3745045534" sldId="4222"/>
        </pc:sldMkLst>
        <pc:spChg chg="mod">
          <ac:chgData name="Sudarshan Chakravarthi" userId="9632d19e-631d-46a5-9e9a-d9cc496f17d0" providerId="ADAL" clId="{AD7277C3-5615-434A-A528-067A3D535B9E}" dt="2023-12-25T11:25:29.527" v="5115" actId="404"/>
          <ac:spMkLst>
            <pc:docMk/>
            <pc:sldMk cId="3745045534" sldId="4222"/>
            <ac:spMk id="22" creationId="{E6046BBC-7B24-4577-A3B4-8BBF87D848B7}"/>
          </ac:spMkLst>
        </pc:spChg>
        <pc:spChg chg="mod">
          <ac:chgData name="Sudarshan Chakravarthi" userId="9632d19e-631d-46a5-9e9a-d9cc496f17d0" providerId="ADAL" clId="{AD7277C3-5615-434A-A528-067A3D535B9E}" dt="2023-12-25T11:25:29.527" v="5115" actId="404"/>
          <ac:spMkLst>
            <pc:docMk/>
            <pc:sldMk cId="3745045534" sldId="4222"/>
            <ac:spMk id="23" creationId="{FDDC238D-87CF-4F83-B94C-85C83F23D1F7}"/>
          </ac:spMkLst>
        </pc:spChg>
        <pc:spChg chg="mod">
          <ac:chgData name="Sudarshan Chakravarthi" userId="9632d19e-631d-46a5-9e9a-d9cc496f17d0" providerId="ADAL" clId="{AD7277C3-5615-434A-A528-067A3D535B9E}" dt="2023-12-25T11:25:29.527" v="5115" actId="404"/>
          <ac:spMkLst>
            <pc:docMk/>
            <pc:sldMk cId="3745045534" sldId="4222"/>
            <ac:spMk id="24" creationId="{9880015E-B8DB-4F3B-92F0-03C6A1A48337}"/>
          </ac:spMkLst>
        </pc:spChg>
        <pc:spChg chg="mod">
          <ac:chgData name="Sudarshan Chakravarthi" userId="9632d19e-631d-46a5-9e9a-d9cc496f17d0" providerId="ADAL" clId="{AD7277C3-5615-434A-A528-067A3D535B9E}" dt="2023-12-25T11:25:29.527" v="5115" actId="404"/>
          <ac:spMkLst>
            <pc:docMk/>
            <pc:sldMk cId="3745045534" sldId="4222"/>
            <ac:spMk id="26" creationId="{207B3FB2-4483-4454-BC54-8E0DCE392C87}"/>
          </ac:spMkLst>
        </pc:spChg>
      </pc:sldChg>
      <pc:sldChg chg="modSp mod">
        <pc:chgData name="Sudarshan Chakravarthi" userId="9632d19e-631d-46a5-9e9a-d9cc496f17d0" providerId="ADAL" clId="{AD7277C3-5615-434A-A528-067A3D535B9E}" dt="2023-12-25T11:25:42.600" v="5119" actId="404"/>
        <pc:sldMkLst>
          <pc:docMk/>
          <pc:sldMk cId="284487363" sldId="4225"/>
        </pc:sldMkLst>
        <pc:spChg chg="mod">
          <ac:chgData name="Sudarshan Chakravarthi" userId="9632d19e-631d-46a5-9e9a-d9cc496f17d0" providerId="ADAL" clId="{AD7277C3-5615-434A-A528-067A3D535B9E}" dt="2023-12-25T11:25:35.252" v="5117" actId="404"/>
          <ac:spMkLst>
            <pc:docMk/>
            <pc:sldMk cId="284487363" sldId="4225"/>
            <ac:spMk id="22" creationId="{E6046BBC-7B24-4577-A3B4-8BBF87D848B7}"/>
          </ac:spMkLst>
        </pc:spChg>
        <pc:spChg chg="mod">
          <ac:chgData name="Sudarshan Chakravarthi" userId="9632d19e-631d-46a5-9e9a-d9cc496f17d0" providerId="ADAL" clId="{AD7277C3-5615-434A-A528-067A3D535B9E}" dt="2023-12-25T11:25:35.252" v="5117" actId="404"/>
          <ac:spMkLst>
            <pc:docMk/>
            <pc:sldMk cId="284487363" sldId="4225"/>
            <ac:spMk id="23" creationId="{FDDC238D-87CF-4F83-B94C-85C83F23D1F7}"/>
          </ac:spMkLst>
        </pc:spChg>
        <pc:spChg chg="mod">
          <ac:chgData name="Sudarshan Chakravarthi" userId="9632d19e-631d-46a5-9e9a-d9cc496f17d0" providerId="ADAL" clId="{AD7277C3-5615-434A-A528-067A3D535B9E}" dt="2023-12-25T11:25:35.252" v="5117" actId="404"/>
          <ac:spMkLst>
            <pc:docMk/>
            <pc:sldMk cId="284487363" sldId="4225"/>
            <ac:spMk id="24" creationId="{9880015E-B8DB-4F3B-92F0-03C6A1A48337}"/>
          </ac:spMkLst>
        </pc:spChg>
        <pc:spChg chg="mod">
          <ac:chgData name="Sudarshan Chakravarthi" userId="9632d19e-631d-46a5-9e9a-d9cc496f17d0" providerId="ADAL" clId="{AD7277C3-5615-434A-A528-067A3D535B9E}" dt="2023-12-25T11:25:42.600" v="5119" actId="404"/>
          <ac:spMkLst>
            <pc:docMk/>
            <pc:sldMk cId="284487363" sldId="4225"/>
            <ac:spMk id="26" creationId="{207B3FB2-4483-4454-BC54-8E0DCE392C87}"/>
          </ac:spMkLst>
        </pc:spChg>
      </pc:sldChg>
      <pc:sldChg chg="modSp mod">
        <pc:chgData name="Sudarshan Chakravarthi" userId="9632d19e-631d-46a5-9e9a-d9cc496f17d0" providerId="ADAL" clId="{AD7277C3-5615-434A-A528-067A3D535B9E}" dt="2023-12-25T11:25:52.230" v="5123" actId="404"/>
        <pc:sldMkLst>
          <pc:docMk/>
          <pc:sldMk cId="2445627982" sldId="4230"/>
        </pc:sldMkLst>
        <pc:spChg chg="mod">
          <ac:chgData name="Sudarshan Chakravarthi" userId="9632d19e-631d-46a5-9e9a-d9cc496f17d0" providerId="ADAL" clId="{AD7277C3-5615-434A-A528-067A3D535B9E}" dt="2023-12-25T11:25:52.230" v="5123" actId="404"/>
          <ac:spMkLst>
            <pc:docMk/>
            <pc:sldMk cId="2445627982" sldId="4230"/>
            <ac:spMk id="26" creationId="{207B3FB2-4483-4454-BC54-8E0DCE392C87}"/>
          </ac:spMkLst>
        </pc:spChg>
      </pc:sldChg>
      <pc:sldChg chg="modSp mod">
        <pc:chgData name="Sudarshan Chakravarthi" userId="9632d19e-631d-46a5-9e9a-d9cc496f17d0" providerId="ADAL" clId="{AD7277C3-5615-434A-A528-067A3D535B9E}" dt="2023-12-25T11:26:04.873" v="5126" actId="404"/>
        <pc:sldMkLst>
          <pc:docMk/>
          <pc:sldMk cId="310649150" sldId="4231"/>
        </pc:sldMkLst>
        <pc:spChg chg="mod">
          <ac:chgData name="Sudarshan Chakravarthi" userId="9632d19e-631d-46a5-9e9a-d9cc496f17d0" providerId="ADAL" clId="{AD7277C3-5615-434A-A528-067A3D535B9E}" dt="2023-12-25T11:26:04.873" v="5126" actId="404"/>
          <ac:spMkLst>
            <pc:docMk/>
            <pc:sldMk cId="310649150" sldId="4231"/>
            <ac:spMk id="22" creationId="{E6046BBC-7B24-4577-A3B4-8BBF87D848B7}"/>
          </ac:spMkLst>
        </pc:spChg>
      </pc:sldChg>
      <pc:sldChg chg="modSp mod">
        <pc:chgData name="Sudarshan Chakravarthi" userId="9632d19e-631d-46a5-9e9a-d9cc496f17d0" providerId="ADAL" clId="{AD7277C3-5615-434A-A528-067A3D535B9E}" dt="2023-12-25T11:25:59.702" v="5125" actId="404"/>
        <pc:sldMkLst>
          <pc:docMk/>
          <pc:sldMk cId="3808608602" sldId="4232"/>
        </pc:sldMkLst>
        <pc:spChg chg="mod">
          <ac:chgData name="Sudarshan Chakravarthi" userId="9632d19e-631d-46a5-9e9a-d9cc496f17d0" providerId="ADAL" clId="{AD7277C3-5615-434A-A528-067A3D535B9E}" dt="2023-12-25T11:25:59.702" v="5125" actId="404"/>
          <ac:spMkLst>
            <pc:docMk/>
            <pc:sldMk cId="3808608602" sldId="4232"/>
            <ac:spMk id="26" creationId="{207B3FB2-4483-4454-BC54-8E0DCE392C87}"/>
          </ac:spMkLst>
        </pc:spChg>
        <pc:grpChg chg="mod">
          <ac:chgData name="Sudarshan Chakravarthi" userId="9632d19e-631d-46a5-9e9a-d9cc496f17d0" providerId="ADAL" clId="{AD7277C3-5615-434A-A528-067A3D535B9E}" dt="2023-12-25T11:25:55.759" v="5124" actId="1076"/>
          <ac:grpSpMkLst>
            <pc:docMk/>
            <pc:sldMk cId="3808608602" sldId="4232"/>
            <ac:grpSpMk id="2" creationId="{5AD4D3FB-4570-48F5-80CB-DB171FD8A6DB}"/>
          </ac:grpSpMkLst>
        </pc:grpChg>
      </pc:sldChg>
      <pc:sldChg chg="addSp delSp modSp mod">
        <pc:chgData name="Sudarshan Chakravarthi" userId="9632d19e-631d-46a5-9e9a-d9cc496f17d0" providerId="ADAL" clId="{AD7277C3-5615-434A-A528-067A3D535B9E}" dt="2023-12-25T10:58:27.787" v="3648" actId="21"/>
        <pc:sldMkLst>
          <pc:docMk/>
          <pc:sldMk cId="2808061439" sldId="4330"/>
        </pc:sldMkLst>
        <pc:spChg chg="mod">
          <ac:chgData name="Sudarshan Chakravarthi" userId="9632d19e-631d-46a5-9e9a-d9cc496f17d0" providerId="ADAL" clId="{AD7277C3-5615-434A-A528-067A3D535B9E}" dt="2023-12-25T10:57:32.729" v="3641" actId="20577"/>
          <ac:spMkLst>
            <pc:docMk/>
            <pc:sldMk cId="2808061439" sldId="4330"/>
            <ac:spMk id="4" creationId="{13617872-A33F-BEE8-36AF-6162B63E6BD9}"/>
          </ac:spMkLst>
        </pc:spChg>
        <pc:graphicFrameChg chg="modGraphic">
          <ac:chgData name="Sudarshan Chakravarthi" userId="9632d19e-631d-46a5-9e9a-d9cc496f17d0" providerId="ADAL" clId="{AD7277C3-5615-434A-A528-067A3D535B9E}" dt="2023-12-25T10:55:40.733" v="3606" actId="114"/>
          <ac:graphicFrameMkLst>
            <pc:docMk/>
            <pc:sldMk cId="2808061439" sldId="4330"/>
            <ac:graphicFrameMk id="7" creationId="{59FE2F62-2F5A-A6B8-8A26-EF2CB9564C4B}"/>
          </ac:graphicFrameMkLst>
        </pc:graphicFrameChg>
        <pc:graphicFrameChg chg="modGraphic">
          <ac:chgData name="Sudarshan Chakravarthi" userId="9632d19e-631d-46a5-9e9a-d9cc496f17d0" providerId="ADAL" clId="{AD7277C3-5615-434A-A528-067A3D535B9E}" dt="2023-12-25T10:58:13.384" v="3645" actId="6549"/>
          <ac:graphicFrameMkLst>
            <pc:docMk/>
            <pc:sldMk cId="2808061439" sldId="4330"/>
            <ac:graphicFrameMk id="11" creationId="{22ED98A4-83EE-B577-64FB-5CAE320A4CF2}"/>
          </ac:graphicFrameMkLst>
        </pc:graphicFrameChg>
        <pc:graphicFrameChg chg="mod modGraphic">
          <ac:chgData name="Sudarshan Chakravarthi" userId="9632d19e-631d-46a5-9e9a-d9cc496f17d0" providerId="ADAL" clId="{AD7277C3-5615-434A-A528-067A3D535B9E}" dt="2023-12-25T10:58:21.345" v="3646"/>
          <ac:graphicFrameMkLst>
            <pc:docMk/>
            <pc:sldMk cId="2808061439" sldId="4330"/>
            <ac:graphicFrameMk id="13" creationId="{8F3D71B7-B7C2-781C-E2B5-86B99A64D887}"/>
          </ac:graphicFrameMkLst>
        </pc:graphicFrameChg>
        <pc:graphicFrameChg chg="mod modGraphic">
          <ac:chgData name="Sudarshan Chakravarthi" userId="9632d19e-631d-46a5-9e9a-d9cc496f17d0" providerId="ADAL" clId="{AD7277C3-5615-434A-A528-067A3D535B9E}" dt="2023-12-25T10:58:22.786" v="3647"/>
          <ac:graphicFrameMkLst>
            <pc:docMk/>
            <pc:sldMk cId="2808061439" sldId="4330"/>
            <ac:graphicFrameMk id="14" creationId="{957EB46A-03B2-911D-6B8F-1EE927C32A95}"/>
          </ac:graphicFrameMkLst>
        </pc:graphicFrameChg>
        <pc:picChg chg="add del mod">
          <ac:chgData name="Sudarshan Chakravarthi" userId="9632d19e-631d-46a5-9e9a-d9cc496f17d0" providerId="ADAL" clId="{AD7277C3-5615-434A-A528-067A3D535B9E}" dt="2023-12-25T10:58:27.787" v="3648" actId="21"/>
          <ac:picMkLst>
            <pc:docMk/>
            <pc:sldMk cId="2808061439" sldId="4330"/>
            <ac:picMk id="6" creationId="{A4882EDD-AB0F-0712-DB1E-A3CE6E830922}"/>
          </ac:picMkLst>
        </pc:picChg>
      </pc:sldChg>
      <pc:sldChg chg="modSp mod">
        <pc:chgData name="Sudarshan Chakravarthi" userId="9632d19e-631d-46a5-9e9a-d9cc496f17d0" providerId="ADAL" clId="{AD7277C3-5615-434A-A528-067A3D535B9E}" dt="2023-12-25T11:29:03.165" v="5187" actId="6549"/>
        <pc:sldMkLst>
          <pc:docMk/>
          <pc:sldMk cId="499117907" sldId="4356"/>
        </pc:sldMkLst>
        <pc:graphicFrameChg chg="mod modGraphic">
          <ac:chgData name="Sudarshan Chakravarthi" userId="9632d19e-631d-46a5-9e9a-d9cc496f17d0" providerId="ADAL" clId="{AD7277C3-5615-434A-A528-067A3D535B9E}" dt="2023-12-25T11:29:03.165" v="5187" actId="6549"/>
          <ac:graphicFrameMkLst>
            <pc:docMk/>
            <pc:sldMk cId="499117907" sldId="4356"/>
            <ac:graphicFrameMk id="7" creationId="{69CCC913-66C2-E876-7694-90092512E8D5}"/>
          </ac:graphicFrameMkLst>
        </pc:graphicFrameChg>
      </pc:sldChg>
      <pc:sldChg chg="modSp mod">
        <pc:chgData name="Sudarshan Chakravarthi" userId="9632d19e-631d-46a5-9e9a-d9cc496f17d0" providerId="ADAL" clId="{AD7277C3-5615-434A-A528-067A3D535B9E}" dt="2023-08-21T11:59:17.232" v="144" actId="1076"/>
        <pc:sldMkLst>
          <pc:docMk/>
          <pc:sldMk cId="1152931146" sldId="4358"/>
        </pc:sldMkLst>
        <pc:spChg chg="mod">
          <ac:chgData name="Sudarshan Chakravarthi" userId="9632d19e-631d-46a5-9e9a-d9cc496f17d0" providerId="ADAL" clId="{AD7277C3-5615-434A-A528-067A3D535B9E}" dt="2023-08-21T11:58:37.717" v="140" actId="1076"/>
          <ac:spMkLst>
            <pc:docMk/>
            <pc:sldMk cId="1152931146" sldId="4358"/>
            <ac:spMk id="14" creationId="{0DC5A748-DD25-7590-D6C6-86AE431D4DA8}"/>
          </ac:spMkLst>
        </pc:spChg>
        <pc:spChg chg="mod">
          <ac:chgData name="Sudarshan Chakravarthi" userId="9632d19e-631d-46a5-9e9a-d9cc496f17d0" providerId="ADAL" clId="{AD7277C3-5615-434A-A528-067A3D535B9E}" dt="2023-08-21T11:59:17.232" v="144" actId="1076"/>
          <ac:spMkLst>
            <pc:docMk/>
            <pc:sldMk cId="1152931146" sldId="4358"/>
            <ac:spMk id="30" creationId="{C4B1C196-268C-1ACA-E2AA-E5772A3653A8}"/>
          </ac:spMkLst>
        </pc:spChg>
        <pc:spChg chg="mod">
          <ac:chgData name="Sudarshan Chakravarthi" userId="9632d19e-631d-46a5-9e9a-d9cc496f17d0" providerId="ADAL" clId="{AD7277C3-5615-434A-A528-067A3D535B9E}" dt="2023-08-21T11:59:07.389" v="143" actId="6549"/>
          <ac:spMkLst>
            <pc:docMk/>
            <pc:sldMk cId="1152931146" sldId="4358"/>
            <ac:spMk id="31" creationId="{38C2EE7F-853A-8D6A-71E2-EDD9F3982E9B}"/>
          </ac:spMkLst>
        </pc:spChg>
      </pc:sldChg>
      <pc:sldChg chg="modSp mod">
        <pc:chgData name="Sudarshan Chakravarthi" userId="9632d19e-631d-46a5-9e9a-d9cc496f17d0" providerId="ADAL" clId="{AD7277C3-5615-434A-A528-067A3D535B9E}" dt="2023-12-25T10:32:55.744" v="2570" actId="20577"/>
        <pc:sldMkLst>
          <pc:docMk/>
          <pc:sldMk cId="2539246940" sldId="4579"/>
        </pc:sldMkLst>
        <pc:graphicFrameChg chg="modGraphic">
          <ac:chgData name="Sudarshan Chakravarthi" userId="9632d19e-631d-46a5-9e9a-d9cc496f17d0" providerId="ADAL" clId="{AD7277C3-5615-434A-A528-067A3D535B9E}" dt="2023-12-25T10:32:55.744" v="2570" actId="20577"/>
          <ac:graphicFrameMkLst>
            <pc:docMk/>
            <pc:sldMk cId="2539246940" sldId="4579"/>
            <ac:graphicFrameMk id="5" creationId="{44F2C7DE-16E2-BFF7-1B2F-85794C3A6AEF}"/>
          </ac:graphicFrameMkLst>
        </pc:graphicFrameChg>
      </pc:sldChg>
      <pc:sldChg chg="modSp mod">
        <pc:chgData name="Sudarshan Chakravarthi" userId="9632d19e-631d-46a5-9e9a-d9cc496f17d0" providerId="ADAL" clId="{AD7277C3-5615-434A-A528-067A3D535B9E}" dt="2023-12-25T10:41:37.450" v="2905" actId="20577"/>
        <pc:sldMkLst>
          <pc:docMk/>
          <pc:sldMk cId="4094098374" sldId="4581"/>
        </pc:sldMkLst>
        <pc:spChg chg="mod">
          <ac:chgData name="Sudarshan Chakravarthi" userId="9632d19e-631d-46a5-9e9a-d9cc496f17d0" providerId="ADAL" clId="{AD7277C3-5615-434A-A528-067A3D535B9E}" dt="2023-12-23T15:03:01.209" v="151"/>
          <ac:spMkLst>
            <pc:docMk/>
            <pc:sldMk cId="4094098374" sldId="4581"/>
            <ac:spMk id="2" creationId="{EA43AF00-BD5A-D419-DFE6-073B2A669DD5}"/>
          </ac:spMkLst>
        </pc:spChg>
        <pc:spChg chg="mod">
          <ac:chgData name="Sudarshan Chakravarthi" userId="9632d19e-631d-46a5-9e9a-d9cc496f17d0" providerId="ADAL" clId="{AD7277C3-5615-434A-A528-067A3D535B9E}" dt="2023-12-25T10:41:37.450" v="2905" actId="20577"/>
          <ac:spMkLst>
            <pc:docMk/>
            <pc:sldMk cId="4094098374" sldId="4581"/>
            <ac:spMk id="7" creationId="{E7054A66-440C-8443-512A-362F471E1719}"/>
          </ac:spMkLst>
        </pc:spChg>
        <pc:graphicFrameChg chg="mod modGraphic">
          <ac:chgData name="Sudarshan Chakravarthi" userId="9632d19e-631d-46a5-9e9a-d9cc496f17d0" providerId="ADAL" clId="{AD7277C3-5615-434A-A528-067A3D535B9E}" dt="2023-12-25T10:39:57.348" v="2780" actId="20577"/>
          <ac:graphicFrameMkLst>
            <pc:docMk/>
            <pc:sldMk cId="4094098374" sldId="4581"/>
            <ac:graphicFrameMk id="5" creationId="{44F2C7DE-16E2-BFF7-1B2F-85794C3A6AEF}"/>
          </ac:graphicFrameMkLst>
        </pc:graphicFrameChg>
      </pc:sldChg>
      <pc:sldChg chg="modSp mod">
        <pc:chgData name="Sudarshan Chakravarthi" userId="9632d19e-631d-46a5-9e9a-d9cc496f17d0" providerId="ADAL" clId="{AD7277C3-5615-434A-A528-067A3D535B9E}" dt="2023-12-25T10:42:27.655" v="2920" actId="114"/>
        <pc:sldMkLst>
          <pc:docMk/>
          <pc:sldMk cId="3395766857" sldId="4582"/>
        </pc:sldMkLst>
        <pc:spChg chg="mod">
          <ac:chgData name="Sudarshan Chakravarthi" userId="9632d19e-631d-46a5-9e9a-d9cc496f17d0" providerId="ADAL" clId="{AD7277C3-5615-434A-A528-067A3D535B9E}" dt="2023-12-25T10:42:00.319" v="2909" actId="20577"/>
          <ac:spMkLst>
            <pc:docMk/>
            <pc:sldMk cId="3395766857" sldId="4582"/>
            <ac:spMk id="7" creationId="{E7054A66-440C-8443-512A-362F471E1719}"/>
          </ac:spMkLst>
        </pc:spChg>
        <pc:graphicFrameChg chg="modGraphic">
          <ac:chgData name="Sudarshan Chakravarthi" userId="9632d19e-631d-46a5-9e9a-d9cc496f17d0" providerId="ADAL" clId="{AD7277C3-5615-434A-A528-067A3D535B9E}" dt="2023-12-25T10:42:27.655" v="2920" actId="114"/>
          <ac:graphicFrameMkLst>
            <pc:docMk/>
            <pc:sldMk cId="3395766857" sldId="4582"/>
            <ac:graphicFrameMk id="5" creationId="{44F2C7DE-16E2-BFF7-1B2F-85794C3A6AEF}"/>
          </ac:graphicFrameMkLst>
        </pc:graphicFrameChg>
      </pc:sldChg>
      <pc:sldChg chg="addSp modSp mod">
        <pc:chgData name="Sudarshan Chakravarthi" userId="9632d19e-631d-46a5-9e9a-d9cc496f17d0" providerId="ADAL" clId="{AD7277C3-5615-434A-A528-067A3D535B9E}" dt="2023-12-25T10:44:27.633" v="3065" actId="404"/>
        <pc:sldMkLst>
          <pc:docMk/>
          <pc:sldMk cId="1497718699" sldId="4584"/>
        </pc:sldMkLst>
        <pc:spChg chg="add mod">
          <ac:chgData name="Sudarshan Chakravarthi" userId="9632d19e-631d-46a5-9e9a-d9cc496f17d0" providerId="ADAL" clId="{AD7277C3-5615-434A-A528-067A3D535B9E}" dt="2023-12-25T10:44:08.882" v="3064" actId="6549"/>
          <ac:spMkLst>
            <pc:docMk/>
            <pc:sldMk cId="1497718699" sldId="4584"/>
            <ac:spMk id="2" creationId="{3A0EF831-E53E-E795-507D-5BEF31F2187A}"/>
          </ac:spMkLst>
        </pc:spChg>
        <pc:graphicFrameChg chg="modGraphic">
          <ac:chgData name="Sudarshan Chakravarthi" userId="9632d19e-631d-46a5-9e9a-d9cc496f17d0" providerId="ADAL" clId="{AD7277C3-5615-434A-A528-067A3D535B9E}" dt="2023-12-25T10:44:27.633" v="3065" actId="404"/>
          <ac:graphicFrameMkLst>
            <pc:docMk/>
            <pc:sldMk cId="1497718699" sldId="4584"/>
            <ac:graphicFrameMk id="6" creationId="{CE688429-C1A8-1E8A-E7C7-8A7BC0F38E49}"/>
          </ac:graphicFrameMkLst>
        </pc:graphicFrameChg>
      </pc:sldChg>
      <pc:sldChg chg="addSp modSp mod">
        <pc:chgData name="Sudarshan Chakravarthi" userId="9632d19e-631d-46a5-9e9a-d9cc496f17d0" providerId="ADAL" clId="{AD7277C3-5615-434A-A528-067A3D535B9E}" dt="2023-12-23T15:10:24.363" v="699" actId="20577"/>
        <pc:sldMkLst>
          <pc:docMk/>
          <pc:sldMk cId="333191078" sldId="4585"/>
        </pc:sldMkLst>
        <pc:spChg chg="add mod">
          <ac:chgData name="Sudarshan Chakravarthi" userId="9632d19e-631d-46a5-9e9a-d9cc496f17d0" providerId="ADAL" clId="{AD7277C3-5615-434A-A528-067A3D535B9E}" dt="2023-12-23T15:10:24.363" v="699" actId="20577"/>
          <ac:spMkLst>
            <pc:docMk/>
            <pc:sldMk cId="333191078" sldId="4585"/>
            <ac:spMk id="2" creationId="{B749CC15-39D3-F54D-D2A4-79865536D518}"/>
          </ac:spMkLst>
        </pc:spChg>
        <pc:graphicFrameChg chg="mod modGraphic">
          <ac:chgData name="Sudarshan Chakravarthi" userId="9632d19e-631d-46a5-9e9a-d9cc496f17d0" providerId="ADAL" clId="{AD7277C3-5615-434A-A528-067A3D535B9E}" dt="2023-12-23T15:09:33.299" v="648" actId="1076"/>
          <ac:graphicFrameMkLst>
            <pc:docMk/>
            <pc:sldMk cId="333191078" sldId="4585"/>
            <ac:graphicFrameMk id="6" creationId="{13E82A81-41DB-3DFD-7AA9-A63B94CF7EA4}"/>
          </ac:graphicFrameMkLst>
        </pc:graphicFrameChg>
      </pc:sldChg>
      <pc:sldChg chg="addSp modSp mod">
        <pc:chgData name="Sudarshan Chakravarthi" userId="9632d19e-631d-46a5-9e9a-d9cc496f17d0" providerId="ADAL" clId="{AD7277C3-5615-434A-A528-067A3D535B9E}" dt="2023-12-23T15:11:03.147" v="713"/>
        <pc:sldMkLst>
          <pc:docMk/>
          <pc:sldMk cId="1236313053" sldId="4586"/>
        </pc:sldMkLst>
        <pc:spChg chg="add mod">
          <ac:chgData name="Sudarshan Chakravarthi" userId="9632d19e-631d-46a5-9e9a-d9cc496f17d0" providerId="ADAL" clId="{AD7277C3-5615-434A-A528-067A3D535B9E}" dt="2023-12-23T15:10:54.613" v="707" actId="1076"/>
          <ac:spMkLst>
            <pc:docMk/>
            <pc:sldMk cId="1236313053" sldId="4586"/>
            <ac:spMk id="2" creationId="{EFBF7191-54EF-3350-E24F-97B38BAAF67E}"/>
          </ac:spMkLst>
        </pc:spChg>
        <pc:graphicFrameChg chg="mod modGraphic">
          <ac:chgData name="Sudarshan Chakravarthi" userId="9632d19e-631d-46a5-9e9a-d9cc496f17d0" providerId="ADAL" clId="{AD7277C3-5615-434A-A528-067A3D535B9E}" dt="2023-12-23T15:11:03.147" v="713"/>
          <ac:graphicFrameMkLst>
            <pc:docMk/>
            <pc:sldMk cId="1236313053" sldId="4586"/>
            <ac:graphicFrameMk id="6" creationId="{341381D2-16A7-39E7-0943-74D3E04D7329}"/>
          </ac:graphicFrameMkLst>
        </pc:graphicFrameChg>
      </pc:sldChg>
      <pc:sldChg chg="addSp modSp mod">
        <pc:chgData name="Sudarshan Chakravarthi" userId="9632d19e-631d-46a5-9e9a-d9cc496f17d0" providerId="ADAL" clId="{AD7277C3-5615-434A-A528-067A3D535B9E}" dt="2023-12-25T10:54:04.219" v="3600" actId="1076"/>
        <pc:sldMkLst>
          <pc:docMk/>
          <pc:sldMk cId="3504199262" sldId="4588"/>
        </pc:sldMkLst>
        <pc:spChg chg="add mod">
          <ac:chgData name="Sudarshan Chakravarthi" userId="9632d19e-631d-46a5-9e9a-d9cc496f17d0" providerId="ADAL" clId="{AD7277C3-5615-434A-A528-067A3D535B9E}" dt="2023-12-25T10:47:12.627" v="3292" actId="313"/>
          <ac:spMkLst>
            <pc:docMk/>
            <pc:sldMk cId="3504199262" sldId="4588"/>
            <ac:spMk id="2" creationId="{587A9147-97BD-D579-D72F-AA393C1022AB}"/>
          </ac:spMkLst>
        </pc:spChg>
        <pc:graphicFrameChg chg="mod modGraphic">
          <ac:chgData name="Sudarshan Chakravarthi" userId="9632d19e-631d-46a5-9e9a-d9cc496f17d0" providerId="ADAL" clId="{AD7277C3-5615-434A-A528-067A3D535B9E}" dt="2023-12-25T10:46:39.435" v="3290" actId="1076"/>
          <ac:graphicFrameMkLst>
            <pc:docMk/>
            <pc:sldMk cId="3504199262" sldId="4588"/>
            <ac:graphicFrameMk id="6" creationId="{341381D2-16A7-39E7-0943-74D3E04D7329}"/>
          </ac:graphicFrameMkLst>
        </pc:graphicFrameChg>
        <pc:graphicFrameChg chg="add mod modGraphic">
          <ac:chgData name="Sudarshan Chakravarthi" userId="9632d19e-631d-46a5-9e9a-d9cc496f17d0" providerId="ADAL" clId="{AD7277C3-5615-434A-A528-067A3D535B9E}" dt="2023-12-25T10:54:04.219" v="3600" actId="1076"/>
          <ac:graphicFrameMkLst>
            <pc:docMk/>
            <pc:sldMk cId="3504199262" sldId="4588"/>
            <ac:graphicFrameMk id="7" creationId="{8D536876-A1D5-99D2-AE76-E2FC731075B9}"/>
          </ac:graphicFrameMkLst>
        </pc:graphicFrameChg>
      </pc:sldChg>
      <pc:sldChg chg="delSp mod">
        <pc:chgData name="Sudarshan Chakravarthi" userId="9632d19e-631d-46a5-9e9a-d9cc496f17d0" providerId="ADAL" clId="{AD7277C3-5615-434A-A528-067A3D535B9E}" dt="2023-12-25T10:54:40.687" v="3601" actId="21"/>
        <pc:sldMkLst>
          <pc:docMk/>
          <pc:sldMk cId="879330796" sldId="4589"/>
        </pc:sldMkLst>
        <pc:picChg chg="del">
          <ac:chgData name="Sudarshan Chakravarthi" userId="9632d19e-631d-46a5-9e9a-d9cc496f17d0" providerId="ADAL" clId="{AD7277C3-5615-434A-A528-067A3D535B9E}" dt="2023-12-25T10:54:40.687" v="3601" actId="21"/>
          <ac:picMkLst>
            <pc:docMk/>
            <pc:sldMk cId="879330796" sldId="4589"/>
            <ac:picMk id="7" creationId="{4040FC96-8DB7-0414-1375-C79F0B4F1F14}"/>
          </ac:picMkLst>
        </pc:picChg>
      </pc:sldChg>
      <pc:sldChg chg="addSp delSp modSp mod">
        <pc:chgData name="Sudarshan Chakravarthi" userId="9632d19e-631d-46a5-9e9a-d9cc496f17d0" providerId="ADAL" clId="{AD7277C3-5615-434A-A528-067A3D535B9E}" dt="2023-12-25T11:30:22.010" v="5196" actId="1076"/>
        <pc:sldMkLst>
          <pc:docMk/>
          <pc:sldMk cId="28880552" sldId="4590"/>
        </pc:sldMkLst>
        <pc:spChg chg="mod">
          <ac:chgData name="Sudarshan Chakravarthi" userId="9632d19e-631d-46a5-9e9a-d9cc496f17d0" providerId="ADAL" clId="{AD7277C3-5615-434A-A528-067A3D535B9E}" dt="2023-12-25T11:30:22.010" v="5196" actId="1076"/>
          <ac:spMkLst>
            <pc:docMk/>
            <pc:sldMk cId="28880552" sldId="4590"/>
            <ac:spMk id="3" creationId="{92DFE87A-94FB-E25C-82CB-55B9F5576796}"/>
          </ac:spMkLst>
        </pc:spChg>
        <pc:graphicFrameChg chg="add mod">
          <ac:chgData name="Sudarshan Chakravarthi" userId="9632d19e-631d-46a5-9e9a-d9cc496f17d0" providerId="ADAL" clId="{AD7277C3-5615-434A-A528-067A3D535B9E}" dt="2023-12-25T11:30:17.863" v="5195" actId="1076"/>
          <ac:graphicFrameMkLst>
            <pc:docMk/>
            <pc:sldMk cId="28880552" sldId="4590"/>
            <ac:graphicFrameMk id="4" creationId="{18F7DD28-C518-4AC2-2593-4D729D4822D3}"/>
          </ac:graphicFrameMkLst>
        </pc:graphicFrameChg>
        <pc:picChg chg="add del mod">
          <ac:chgData name="Sudarshan Chakravarthi" userId="9632d19e-631d-46a5-9e9a-d9cc496f17d0" providerId="ADAL" clId="{AD7277C3-5615-434A-A528-067A3D535B9E}" dt="2023-12-25T11:01:07.673" v="3669" actId="478"/>
          <ac:picMkLst>
            <pc:docMk/>
            <pc:sldMk cId="28880552" sldId="4590"/>
            <ac:picMk id="2" creationId="{0C089E37-0FD4-C9A0-B1D1-C77EEF82464B}"/>
          </ac:picMkLst>
        </pc:picChg>
      </pc:sldChg>
      <pc:sldChg chg="addSp delSp modSp mod">
        <pc:chgData name="Sudarshan Chakravarthi" userId="9632d19e-631d-46a5-9e9a-d9cc496f17d0" providerId="ADAL" clId="{AD7277C3-5615-434A-A528-067A3D535B9E}" dt="2023-12-25T11:30:53.241" v="5228" actId="1076"/>
        <pc:sldMkLst>
          <pc:docMk/>
          <pc:sldMk cId="845703025" sldId="4594"/>
        </pc:sldMkLst>
        <pc:spChg chg="mod">
          <ac:chgData name="Sudarshan Chakravarthi" userId="9632d19e-631d-46a5-9e9a-d9cc496f17d0" providerId="ADAL" clId="{AD7277C3-5615-434A-A528-067A3D535B9E}" dt="2023-12-25T11:30:53.241" v="5228" actId="1076"/>
          <ac:spMkLst>
            <pc:docMk/>
            <pc:sldMk cId="845703025" sldId="4594"/>
            <ac:spMk id="2" creationId="{641F97B1-E6B0-BAD4-66A2-5483036D109F}"/>
          </ac:spMkLst>
        </pc:spChg>
        <pc:graphicFrameChg chg="add mod">
          <ac:chgData name="Sudarshan Chakravarthi" userId="9632d19e-631d-46a5-9e9a-d9cc496f17d0" providerId="ADAL" clId="{AD7277C3-5615-434A-A528-067A3D535B9E}" dt="2023-12-25T11:30:40.251" v="5199" actId="1076"/>
          <ac:graphicFrameMkLst>
            <pc:docMk/>
            <pc:sldMk cId="845703025" sldId="4594"/>
            <ac:graphicFrameMk id="4" creationId="{66A03E0E-EF44-0D81-6FCF-C54635097BDB}"/>
          </ac:graphicFrameMkLst>
        </pc:graphicFrameChg>
        <pc:picChg chg="del">
          <ac:chgData name="Sudarshan Chakravarthi" userId="9632d19e-631d-46a5-9e9a-d9cc496f17d0" providerId="ADAL" clId="{AD7277C3-5615-434A-A528-067A3D535B9E}" dt="2023-12-25T11:30:32.541" v="5197" actId="478"/>
          <ac:picMkLst>
            <pc:docMk/>
            <pc:sldMk cId="845703025" sldId="4594"/>
            <ac:picMk id="3" creationId="{395840DC-61CB-6F96-B6FB-A27679A9F06F}"/>
          </ac:picMkLst>
        </pc:picChg>
      </pc:sldChg>
      <pc:sldChg chg="ord">
        <pc:chgData name="Sudarshan Chakravarthi" userId="9632d19e-631d-46a5-9e9a-d9cc496f17d0" providerId="ADAL" clId="{AD7277C3-5615-434A-A528-067A3D535B9E}" dt="2023-07-07T15:21:13.582" v="71"/>
        <pc:sldMkLst>
          <pc:docMk/>
          <pc:sldMk cId="3812540057" sldId="4596"/>
        </pc:sldMkLst>
      </pc:sldChg>
      <pc:sldChg chg="modSp mod ord">
        <pc:chgData name="Sudarshan Chakravarthi" userId="9632d19e-631d-46a5-9e9a-d9cc496f17d0" providerId="ADAL" clId="{AD7277C3-5615-434A-A528-067A3D535B9E}" dt="2023-12-23T16:44:59.502" v="900" actId="14100"/>
        <pc:sldMkLst>
          <pc:docMk/>
          <pc:sldMk cId="3595854153" sldId="4597"/>
        </pc:sldMkLst>
        <pc:picChg chg="mod">
          <ac:chgData name="Sudarshan Chakravarthi" userId="9632d19e-631d-46a5-9e9a-d9cc496f17d0" providerId="ADAL" clId="{AD7277C3-5615-434A-A528-067A3D535B9E}" dt="2023-12-23T16:44:59.502" v="900" actId="14100"/>
          <ac:picMkLst>
            <pc:docMk/>
            <pc:sldMk cId="3595854153" sldId="4597"/>
            <ac:picMk id="4" creationId="{C6AC45CA-DD80-AD70-ADBB-E6EF04686B62}"/>
          </ac:picMkLst>
        </pc:picChg>
      </pc:sldChg>
      <pc:sldChg chg="modSp mod ord">
        <pc:chgData name="Sudarshan Chakravarthi" userId="9632d19e-631d-46a5-9e9a-d9cc496f17d0" providerId="ADAL" clId="{AD7277C3-5615-434A-A528-067A3D535B9E}" dt="2023-07-07T15:22:38.761" v="134" actId="1076"/>
        <pc:sldMkLst>
          <pc:docMk/>
          <pc:sldMk cId="1604135182" sldId="4598"/>
        </pc:sldMkLst>
        <pc:spChg chg="mod">
          <ac:chgData name="Sudarshan Chakravarthi" userId="9632d19e-631d-46a5-9e9a-d9cc496f17d0" providerId="ADAL" clId="{AD7277C3-5615-434A-A528-067A3D535B9E}" dt="2023-07-07T15:22:31.424" v="133" actId="1076"/>
          <ac:spMkLst>
            <pc:docMk/>
            <pc:sldMk cId="1604135182" sldId="4598"/>
            <ac:spMk id="4" creationId="{B29125D2-C4F0-7DF5-4CD0-3826DAE50FC3}"/>
          </ac:spMkLst>
        </pc:spChg>
        <pc:picChg chg="mod">
          <ac:chgData name="Sudarshan Chakravarthi" userId="9632d19e-631d-46a5-9e9a-d9cc496f17d0" providerId="ADAL" clId="{AD7277C3-5615-434A-A528-067A3D535B9E}" dt="2023-07-07T15:22:38.761" v="134" actId="1076"/>
          <ac:picMkLst>
            <pc:docMk/>
            <pc:sldMk cId="1604135182" sldId="4598"/>
            <ac:picMk id="5122" creationId="{66A56E70-0DE1-4E58-07DE-05D3054E89F2}"/>
          </ac:picMkLst>
        </pc:picChg>
      </pc:sldChg>
      <pc:sldChg chg="del">
        <pc:chgData name="Sudarshan Chakravarthi" userId="9632d19e-631d-46a5-9e9a-d9cc496f17d0" providerId="ADAL" clId="{AD7277C3-5615-434A-A528-067A3D535B9E}" dt="2023-07-07T15:17:37.381" v="25" actId="47"/>
        <pc:sldMkLst>
          <pc:docMk/>
          <pc:sldMk cId="900395016" sldId="4599"/>
        </pc:sldMkLst>
      </pc:sldChg>
      <pc:sldChg chg="addSp delSp modSp mod">
        <pc:chgData name="Sudarshan Chakravarthi" userId="9632d19e-631d-46a5-9e9a-d9cc496f17d0" providerId="ADAL" clId="{AD7277C3-5615-434A-A528-067A3D535B9E}" dt="2023-12-25T11:31:29.912" v="5256" actId="1076"/>
        <pc:sldMkLst>
          <pc:docMk/>
          <pc:sldMk cId="4113552061" sldId="4600"/>
        </pc:sldMkLst>
        <pc:spChg chg="mod">
          <ac:chgData name="Sudarshan Chakravarthi" userId="9632d19e-631d-46a5-9e9a-d9cc496f17d0" providerId="ADAL" clId="{AD7277C3-5615-434A-A528-067A3D535B9E}" dt="2023-12-25T11:31:29.912" v="5256" actId="1076"/>
          <ac:spMkLst>
            <pc:docMk/>
            <pc:sldMk cId="4113552061" sldId="4600"/>
            <ac:spMk id="3" creationId="{9374F001-FFD3-BC29-F928-2438D3530DC3}"/>
          </ac:spMkLst>
        </pc:spChg>
        <pc:graphicFrameChg chg="add mod">
          <ac:chgData name="Sudarshan Chakravarthi" userId="9632d19e-631d-46a5-9e9a-d9cc496f17d0" providerId="ADAL" clId="{AD7277C3-5615-434A-A528-067A3D535B9E}" dt="2023-12-25T11:31:11.828" v="5231" actId="1076"/>
          <ac:graphicFrameMkLst>
            <pc:docMk/>
            <pc:sldMk cId="4113552061" sldId="4600"/>
            <ac:graphicFrameMk id="4" creationId="{CCCE719E-2CDF-2DD1-59C7-EB18206FC1CC}"/>
          </ac:graphicFrameMkLst>
        </pc:graphicFrameChg>
        <pc:picChg chg="del mod">
          <ac:chgData name="Sudarshan Chakravarthi" userId="9632d19e-631d-46a5-9e9a-d9cc496f17d0" providerId="ADAL" clId="{AD7277C3-5615-434A-A528-067A3D535B9E}" dt="2023-12-25T11:31:06.465" v="5229" actId="478"/>
          <ac:picMkLst>
            <pc:docMk/>
            <pc:sldMk cId="4113552061" sldId="4600"/>
            <ac:picMk id="2" creationId="{BB822CEC-910C-B8AB-17FD-563A06081A65}"/>
          </ac:picMkLst>
        </pc:picChg>
      </pc:sldChg>
      <pc:sldChg chg="delSp mod">
        <pc:chgData name="Sudarshan Chakravarthi" userId="9632d19e-631d-46a5-9e9a-d9cc496f17d0" providerId="ADAL" clId="{AD7277C3-5615-434A-A528-067A3D535B9E}" dt="2023-12-25T11:32:29.401" v="5258" actId="478"/>
        <pc:sldMkLst>
          <pc:docMk/>
          <pc:sldMk cId="699131560" sldId="4605"/>
        </pc:sldMkLst>
        <pc:picChg chg="del">
          <ac:chgData name="Sudarshan Chakravarthi" userId="9632d19e-631d-46a5-9e9a-d9cc496f17d0" providerId="ADAL" clId="{AD7277C3-5615-434A-A528-067A3D535B9E}" dt="2023-12-25T11:32:29.401" v="5258" actId="478"/>
          <ac:picMkLst>
            <pc:docMk/>
            <pc:sldMk cId="699131560" sldId="4605"/>
            <ac:picMk id="2" creationId="{BB822CEC-910C-B8AB-17FD-563A06081A65}"/>
          </ac:picMkLst>
        </pc:picChg>
      </pc:sldChg>
      <pc:sldChg chg="del">
        <pc:chgData name="Sudarshan Chakravarthi" userId="9632d19e-631d-46a5-9e9a-d9cc496f17d0" providerId="ADAL" clId="{AD7277C3-5615-434A-A528-067A3D535B9E}" dt="2023-07-07T15:17:28.143" v="24" actId="47"/>
        <pc:sldMkLst>
          <pc:docMk/>
          <pc:sldMk cId="1737316441" sldId="4606"/>
        </pc:sldMkLst>
      </pc:sldChg>
      <pc:sldChg chg="addSp modSp mod">
        <pc:chgData name="Sudarshan Chakravarthi" userId="9632d19e-631d-46a5-9e9a-d9cc496f17d0" providerId="ADAL" clId="{AD7277C3-5615-434A-A528-067A3D535B9E}" dt="2023-12-25T11:29:32.276" v="5190" actId="1076"/>
        <pc:sldMkLst>
          <pc:docMk/>
          <pc:sldMk cId="175481642" sldId="4608"/>
        </pc:sldMkLst>
        <pc:spChg chg="add mod">
          <ac:chgData name="Sudarshan Chakravarthi" userId="9632d19e-631d-46a5-9e9a-d9cc496f17d0" providerId="ADAL" clId="{AD7277C3-5615-434A-A528-067A3D535B9E}" dt="2023-12-25T11:29:32.276" v="5190" actId="1076"/>
          <ac:spMkLst>
            <pc:docMk/>
            <pc:sldMk cId="175481642" sldId="4608"/>
            <ac:spMk id="2" creationId="{7D792864-CCAC-691D-E85B-6D74A5809D9E}"/>
          </ac:spMkLst>
        </pc:spChg>
        <pc:graphicFrameChg chg="add mod">
          <ac:chgData name="Sudarshan Chakravarthi" userId="9632d19e-631d-46a5-9e9a-d9cc496f17d0" providerId="ADAL" clId="{AD7277C3-5615-434A-A528-067A3D535B9E}" dt="2023-12-25T11:29:26.517" v="5189" actId="1076"/>
          <ac:graphicFrameMkLst>
            <pc:docMk/>
            <pc:sldMk cId="175481642" sldId="4608"/>
            <ac:graphicFrameMk id="3" creationId="{4FEB15DD-FF58-C40E-A275-6EC2913748FA}"/>
          </ac:graphicFrameMkLst>
        </pc:graphicFrameChg>
      </pc:sldChg>
      <pc:sldChg chg="add">
        <pc:chgData name="Sudarshan Chakravarthi" userId="9632d19e-631d-46a5-9e9a-d9cc496f17d0" providerId="ADAL" clId="{AD7277C3-5615-434A-A528-067A3D535B9E}" dt="2023-07-07T15:17:25.438" v="23"/>
        <pc:sldMkLst>
          <pc:docMk/>
          <pc:sldMk cId="1727357190" sldId="4609"/>
        </pc:sldMkLst>
      </pc:sldChg>
      <pc:sldChg chg="addSp delSp modSp new mod ord">
        <pc:chgData name="Sudarshan Chakravarthi" userId="9632d19e-631d-46a5-9e9a-d9cc496f17d0" providerId="ADAL" clId="{AD7277C3-5615-434A-A528-067A3D535B9E}" dt="2023-12-23T16:50:18.936" v="976" actId="122"/>
        <pc:sldMkLst>
          <pc:docMk/>
          <pc:sldMk cId="759525055" sldId="4610"/>
        </pc:sldMkLst>
        <pc:spChg chg="add mod">
          <ac:chgData name="Sudarshan Chakravarthi" userId="9632d19e-631d-46a5-9e9a-d9cc496f17d0" providerId="ADAL" clId="{AD7277C3-5615-434A-A528-067A3D535B9E}" dt="2023-07-07T15:21:33.986" v="93" actId="20577"/>
          <ac:spMkLst>
            <pc:docMk/>
            <pc:sldMk cId="759525055" sldId="4610"/>
            <ac:spMk id="2" creationId="{BD528109-0718-3BFA-5435-9020E3999ECD}"/>
          </ac:spMkLst>
        </pc:spChg>
        <pc:spChg chg="add mod">
          <ac:chgData name="Sudarshan Chakravarthi" userId="9632d19e-631d-46a5-9e9a-d9cc496f17d0" providerId="ADAL" clId="{AD7277C3-5615-434A-A528-067A3D535B9E}" dt="2023-12-23T16:50:08.389" v="975" actId="12"/>
          <ac:spMkLst>
            <pc:docMk/>
            <pc:sldMk cId="759525055" sldId="4610"/>
            <ac:spMk id="6" creationId="{86D8FA94-2A6D-345D-B6EA-7BDC92D14077}"/>
          </ac:spMkLst>
        </pc:spChg>
        <pc:graphicFrameChg chg="add mod modGraphic">
          <ac:chgData name="Sudarshan Chakravarthi" userId="9632d19e-631d-46a5-9e9a-d9cc496f17d0" providerId="ADAL" clId="{AD7277C3-5615-434A-A528-067A3D535B9E}" dt="2023-12-23T16:50:18.936" v="976" actId="122"/>
          <ac:graphicFrameMkLst>
            <pc:docMk/>
            <pc:sldMk cId="759525055" sldId="4610"/>
            <ac:graphicFrameMk id="4" creationId="{53B330C3-782C-FA59-AE7A-AD12430D187C}"/>
          </ac:graphicFrameMkLst>
        </pc:graphicFrameChg>
        <pc:picChg chg="add del mod">
          <ac:chgData name="Sudarshan Chakravarthi" userId="9632d19e-631d-46a5-9e9a-d9cc496f17d0" providerId="ADAL" clId="{AD7277C3-5615-434A-A528-067A3D535B9E}" dt="2023-12-23T16:49:22.193" v="966" actId="478"/>
          <ac:picMkLst>
            <pc:docMk/>
            <pc:sldMk cId="759525055" sldId="4610"/>
            <ac:picMk id="3" creationId="{004DA145-B122-4063-167D-72A609F5055E}"/>
          </ac:picMkLst>
        </pc:picChg>
      </pc:sldChg>
      <pc:sldChg chg="addSp delSp modSp new mod ord">
        <pc:chgData name="Sudarshan Chakravarthi" userId="9632d19e-631d-46a5-9e9a-d9cc496f17d0" providerId="ADAL" clId="{AD7277C3-5615-434A-A528-067A3D535B9E}" dt="2023-12-23T16:58:49.870" v="1439" actId="33524"/>
        <pc:sldMkLst>
          <pc:docMk/>
          <pc:sldMk cId="1767944863" sldId="4611"/>
        </pc:sldMkLst>
        <pc:spChg chg="add mod">
          <ac:chgData name="Sudarshan Chakravarthi" userId="9632d19e-631d-46a5-9e9a-d9cc496f17d0" providerId="ADAL" clId="{AD7277C3-5615-434A-A528-067A3D535B9E}" dt="2023-07-07T15:21:49.470" v="104" actId="6549"/>
          <ac:spMkLst>
            <pc:docMk/>
            <pc:sldMk cId="1767944863" sldId="4611"/>
            <ac:spMk id="2" creationId="{69DDEAE5-8936-32A8-CC29-5033BE3F2752}"/>
          </ac:spMkLst>
        </pc:spChg>
        <pc:spChg chg="add mod">
          <ac:chgData name="Sudarshan Chakravarthi" userId="9632d19e-631d-46a5-9e9a-d9cc496f17d0" providerId="ADAL" clId="{AD7277C3-5615-434A-A528-067A3D535B9E}" dt="2023-12-23T16:57:25.466" v="1255" actId="1076"/>
          <ac:spMkLst>
            <pc:docMk/>
            <pc:sldMk cId="1767944863" sldId="4611"/>
            <ac:spMk id="5" creationId="{05B7ACDD-1D79-A518-19D8-F75DD2CC50A7}"/>
          </ac:spMkLst>
        </pc:spChg>
        <pc:spChg chg="add mod">
          <ac:chgData name="Sudarshan Chakravarthi" userId="9632d19e-631d-46a5-9e9a-d9cc496f17d0" providerId="ADAL" clId="{AD7277C3-5615-434A-A528-067A3D535B9E}" dt="2023-12-23T16:58:49.870" v="1439" actId="33524"/>
          <ac:spMkLst>
            <pc:docMk/>
            <pc:sldMk cId="1767944863" sldId="4611"/>
            <ac:spMk id="6" creationId="{E0196387-5D18-C37A-CF7F-ACAD4AA88504}"/>
          </ac:spMkLst>
        </pc:spChg>
        <pc:graphicFrameChg chg="add mod modGraphic">
          <ac:chgData name="Sudarshan Chakravarthi" userId="9632d19e-631d-46a5-9e9a-d9cc496f17d0" providerId="ADAL" clId="{AD7277C3-5615-434A-A528-067A3D535B9E}" dt="2023-12-23T16:57:22.204" v="1254" actId="1076"/>
          <ac:graphicFrameMkLst>
            <pc:docMk/>
            <pc:sldMk cId="1767944863" sldId="4611"/>
            <ac:graphicFrameMk id="4" creationId="{2EAF1F15-CCCE-E87E-C4BB-A99F9E4988D9}"/>
          </ac:graphicFrameMkLst>
        </pc:graphicFrameChg>
        <pc:picChg chg="add del mod">
          <ac:chgData name="Sudarshan Chakravarthi" userId="9632d19e-631d-46a5-9e9a-d9cc496f17d0" providerId="ADAL" clId="{AD7277C3-5615-434A-A528-067A3D535B9E}" dt="2023-12-23T16:51:37.270" v="1037" actId="478"/>
          <ac:picMkLst>
            <pc:docMk/>
            <pc:sldMk cId="1767944863" sldId="4611"/>
            <ac:picMk id="3" creationId="{E50E70D2-0FB4-3171-03C3-7CC410DDEAE8}"/>
          </ac:picMkLst>
        </pc:picChg>
      </pc:sldChg>
      <pc:sldChg chg="addSp delSp modSp new mod ord">
        <pc:chgData name="Sudarshan Chakravarthi" userId="9632d19e-631d-46a5-9e9a-d9cc496f17d0" providerId="ADAL" clId="{AD7277C3-5615-434A-A528-067A3D535B9E}" dt="2023-12-23T17:10:11.097" v="2563" actId="1076"/>
        <pc:sldMkLst>
          <pc:docMk/>
          <pc:sldMk cId="200074726" sldId="4612"/>
        </pc:sldMkLst>
        <pc:spChg chg="add mod">
          <ac:chgData name="Sudarshan Chakravarthi" userId="9632d19e-631d-46a5-9e9a-d9cc496f17d0" providerId="ADAL" clId="{AD7277C3-5615-434A-A528-067A3D535B9E}" dt="2023-07-07T15:22:04.095" v="129" actId="20577"/>
          <ac:spMkLst>
            <pc:docMk/>
            <pc:sldMk cId="200074726" sldId="4612"/>
            <ac:spMk id="2" creationId="{C1D3B646-7CFF-AC41-DE4E-9384A427EFA7}"/>
          </ac:spMkLst>
        </pc:spChg>
        <pc:spChg chg="add mod">
          <ac:chgData name="Sudarshan Chakravarthi" userId="9632d19e-631d-46a5-9e9a-d9cc496f17d0" providerId="ADAL" clId="{AD7277C3-5615-434A-A528-067A3D535B9E}" dt="2023-12-23T17:05:07.995" v="2179" actId="114"/>
          <ac:spMkLst>
            <pc:docMk/>
            <pc:sldMk cId="200074726" sldId="4612"/>
            <ac:spMk id="5" creationId="{352D2C73-3730-89AE-79A5-4B89DD46EC7E}"/>
          </ac:spMkLst>
        </pc:spChg>
        <pc:spChg chg="add mod">
          <ac:chgData name="Sudarshan Chakravarthi" userId="9632d19e-631d-46a5-9e9a-d9cc496f17d0" providerId="ADAL" clId="{AD7277C3-5615-434A-A528-067A3D535B9E}" dt="2023-12-23T17:10:11.097" v="2563" actId="1076"/>
          <ac:spMkLst>
            <pc:docMk/>
            <pc:sldMk cId="200074726" sldId="4612"/>
            <ac:spMk id="6" creationId="{0CC1AC84-DA33-7BCA-4B75-1DA6837B3467}"/>
          </ac:spMkLst>
        </pc:spChg>
        <pc:spChg chg="add mod">
          <ac:chgData name="Sudarshan Chakravarthi" userId="9632d19e-631d-46a5-9e9a-d9cc496f17d0" providerId="ADAL" clId="{AD7277C3-5615-434A-A528-067A3D535B9E}" dt="2023-12-23T17:10:06.404" v="2561" actId="14100"/>
          <ac:spMkLst>
            <pc:docMk/>
            <pc:sldMk cId="200074726" sldId="4612"/>
            <ac:spMk id="7" creationId="{AAED53DF-6B5D-5790-8C8C-B7CB9C91B24D}"/>
          </ac:spMkLst>
        </pc:spChg>
        <pc:graphicFrameChg chg="add mod modGraphic">
          <ac:chgData name="Sudarshan Chakravarthi" userId="9632d19e-631d-46a5-9e9a-d9cc496f17d0" providerId="ADAL" clId="{AD7277C3-5615-434A-A528-067A3D535B9E}" dt="2023-12-23T17:05:29.882" v="2217" actId="20577"/>
          <ac:graphicFrameMkLst>
            <pc:docMk/>
            <pc:sldMk cId="200074726" sldId="4612"/>
            <ac:graphicFrameMk id="4" creationId="{F1E9E4D5-383C-188E-C5A8-E88711FA21BF}"/>
          </ac:graphicFrameMkLst>
        </pc:graphicFrameChg>
        <pc:picChg chg="add del mod">
          <ac:chgData name="Sudarshan Chakravarthi" userId="9632d19e-631d-46a5-9e9a-d9cc496f17d0" providerId="ADAL" clId="{AD7277C3-5615-434A-A528-067A3D535B9E}" dt="2023-12-23T17:05:10.390" v="2180" actId="478"/>
          <ac:picMkLst>
            <pc:docMk/>
            <pc:sldMk cId="200074726" sldId="4612"/>
            <ac:picMk id="3" creationId="{C9393124-9587-4928-1C79-4AF8984F936B}"/>
          </ac:picMkLst>
        </pc:picChg>
      </pc:sldChg>
      <pc:sldChg chg="addSp delSp modSp new mod">
        <pc:chgData name="Sudarshan Chakravarthi" userId="9632d19e-631d-46a5-9e9a-d9cc496f17d0" providerId="ADAL" clId="{AD7277C3-5615-434A-A528-067A3D535B9E}" dt="2023-12-25T11:32:26.093" v="5257" actId="478"/>
        <pc:sldMkLst>
          <pc:docMk/>
          <pc:sldMk cId="457243618" sldId="4613"/>
        </pc:sldMkLst>
        <pc:spChg chg="add mod">
          <ac:chgData name="Sudarshan Chakravarthi" userId="9632d19e-631d-46a5-9e9a-d9cc496f17d0" providerId="ADAL" clId="{AD7277C3-5615-434A-A528-067A3D535B9E}" dt="2023-07-07T15:20:20.061" v="64" actId="6549"/>
          <ac:spMkLst>
            <pc:docMk/>
            <pc:sldMk cId="457243618" sldId="4613"/>
            <ac:spMk id="2" creationId="{CA39193F-696B-E69C-E93A-AB06F607D210}"/>
          </ac:spMkLst>
        </pc:spChg>
        <pc:spChg chg="add mod">
          <ac:chgData name="Sudarshan Chakravarthi" userId="9632d19e-631d-46a5-9e9a-d9cc496f17d0" providerId="ADAL" clId="{AD7277C3-5615-434A-A528-067A3D535B9E}" dt="2023-12-25T11:22:42.637" v="5112" actId="14100"/>
          <ac:spMkLst>
            <pc:docMk/>
            <pc:sldMk cId="457243618" sldId="4613"/>
            <ac:spMk id="5" creationId="{1984F04B-0CA4-C0A0-9EB6-000254984034}"/>
          </ac:spMkLst>
        </pc:spChg>
        <pc:graphicFrameChg chg="add mod modGraphic">
          <ac:chgData name="Sudarshan Chakravarthi" userId="9632d19e-631d-46a5-9e9a-d9cc496f17d0" providerId="ADAL" clId="{AD7277C3-5615-434A-A528-067A3D535B9E}" dt="2023-12-25T11:22:34.700" v="5110"/>
          <ac:graphicFrameMkLst>
            <pc:docMk/>
            <pc:sldMk cId="457243618" sldId="4613"/>
            <ac:graphicFrameMk id="4" creationId="{4C8C1D5E-CCED-1E5C-3832-85DE8FA3B60A}"/>
          </ac:graphicFrameMkLst>
        </pc:graphicFrameChg>
        <pc:picChg chg="add del mod ord">
          <ac:chgData name="Sudarshan Chakravarthi" userId="9632d19e-631d-46a5-9e9a-d9cc496f17d0" providerId="ADAL" clId="{AD7277C3-5615-434A-A528-067A3D535B9E}" dt="2023-12-25T11:32:26.093" v="5257" actId="478"/>
          <ac:picMkLst>
            <pc:docMk/>
            <pc:sldMk cId="457243618" sldId="4613"/>
            <ac:picMk id="3" creationId="{D13960F7-3BFD-5085-48E2-9594F733E802}"/>
          </ac:picMkLst>
        </pc:picChg>
      </pc:sldChg>
      <pc:sldChg chg="addSp modSp add mod">
        <pc:chgData name="Sudarshan Chakravarthi" userId="9632d19e-631d-46a5-9e9a-d9cc496f17d0" providerId="ADAL" clId="{AD7277C3-5615-434A-A528-067A3D535B9E}" dt="2023-12-25T11:30:03.597" v="5193" actId="1076"/>
        <pc:sldMkLst>
          <pc:docMk/>
          <pc:sldMk cId="292467196" sldId="4614"/>
        </pc:sldMkLst>
        <pc:spChg chg="mod">
          <ac:chgData name="Sudarshan Chakravarthi" userId="9632d19e-631d-46a5-9e9a-d9cc496f17d0" providerId="ADAL" clId="{AD7277C3-5615-434A-A528-067A3D535B9E}" dt="2023-12-25T11:30:03.597" v="5193" actId="1076"/>
          <ac:spMkLst>
            <pc:docMk/>
            <pc:sldMk cId="292467196" sldId="4614"/>
            <ac:spMk id="2" creationId="{7D792864-CCAC-691D-E85B-6D74A5809D9E}"/>
          </ac:spMkLst>
        </pc:spChg>
        <pc:graphicFrameChg chg="add mod">
          <ac:chgData name="Sudarshan Chakravarthi" userId="9632d19e-631d-46a5-9e9a-d9cc496f17d0" providerId="ADAL" clId="{AD7277C3-5615-434A-A528-067A3D535B9E}" dt="2023-12-25T11:29:59.966" v="5192" actId="1076"/>
          <ac:graphicFrameMkLst>
            <pc:docMk/>
            <pc:sldMk cId="292467196" sldId="4614"/>
            <ac:graphicFrameMk id="3" creationId="{D6672977-34BA-87ED-B643-5CCBF0EE739F}"/>
          </ac:graphicFrameMkLst>
        </pc:graphicFrameChg>
      </pc:sldChg>
      <pc:sldChg chg="addSp delSp modSp add mod">
        <pc:chgData name="Sudarshan Chakravarthi" userId="9632d19e-631d-46a5-9e9a-d9cc496f17d0" providerId="ADAL" clId="{AD7277C3-5615-434A-A528-067A3D535B9E}" dt="2023-12-25T11:33:22.286" v="5282" actId="478"/>
        <pc:sldMkLst>
          <pc:docMk/>
          <pc:sldMk cId="835895053" sldId="4615"/>
        </pc:sldMkLst>
        <pc:spChg chg="mod">
          <ac:chgData name="Sudarshan Chakravarthi" userId="9632d19e-631d-46a5-9e9a-d9cc496f17d0" providerId="ADAL" clId="{AD7277C3-5615-434A-A528-067A3D535B9E}" dt="2023-12-25T11:32:54.972" v="5278" actId="20577"/>
          <ac:spMkLst>
            <pc:docMk/>
            <pc:sldMk cId="835895053" sldId="4615"/>
            <ac:spMk id="3" creationId="{9374F001-FFD3-BC29-F928-2438D3530DC3}"/>
          </ac:spMkLst>
        </pc:spChg>
        <pc:spChg chg="add mod">
          <ac:chgData name="Sudarshan Chakravarthi" userId="9632d19e-631d-46a5-9e9a-d9cc496f17d0" providerId="ADAL" clId="{AD7277C3-5615-434A-A528-067A3D535B9E}" dt="2023-12-25T11:33:20.318" v="5281" actId="6549"/>
          <ac:spMkLst>
            <pc:docMk/>
            <pc:sldMk cId="835895053" sldId="4615"/>
            <ac:spMk id="5" creationId="{EC9155F1-2562-03B1-B32E-C233255E5062}"/>
          </ac:spMkLst>
        </pc:spChg>
        <pc:spChg chg="add mod">
          <ac:chgData name="Sudarshan Chakravarthi" userId="9632d19e-631d-46a5-9e9a-d9cc496f17d0" providerId="ADAL" clId="{AD7277C3-5615-434A-A528-067A3D535B9E}" dt="2023-12-25T11:33:13.820" v="5280"/>
          <ac:spMkLst>
            <pc:docMk/>
            <pc:sldMk cId="835895053" sldId="4615"/>
            <ac:spMk id="6" creationId="{B8525215-8F3A-8636-DD23-715864738042}"/>
          </ac:spMkLst>
        </pc:spChg>
        <pc:picChg chg="add del mod">
          <ac:chgData name="Sudarshan Chakravarthi" userId="9632d19e-631d-46a5-9e9a-d9cc496f17d0" providerId="ADAL" clId="{AD7277C3-5615-434A-A528-067A3D535B9E}" dt="2023-12-25T11:33:22.286" v="5282" actId="478"/>
          <ac:picMkLst>
            <pc:docMk/>
            <pc:sldMk cId="835895053" sldId="4615"/>
            <ac:picMk id="2" creationId="{F90A833D-14CA-A6A1-7CD5-F4C294A4C358}"/>
          </ac:picMkLst>
        </pc:picChg>
      </pc:sldChg>
      <pc:sldChg chg="addSp modSp new mod">
        <pc:chgData name="Sudarshan Chakravarthi" userId="9632d19e-631d-46a5-9e9a-d9cc496f17d0" providerId="ADAL" clId="{AD7277C3-5615-434A-A528-067A3D535B9E}" dt="2023-12-25T12:13:25.992" v="7978" actId="1076"/>
        <pc:sldMkLst>
          <pc:docMk/>
          <pc:sldMk cId="402078865" sldId="4616"/>
        </pc:sldMkLst>
        <pc:spChg chg="add mod">
          <ac:chgData name="Sudarshan Chakravarthi" userId="9632d19e-631d-46a5-9e9a-d9cc496f17d0" providerId="ADAL" clId="{AD7277C3-5615-434A-A528-067A3D535B9E}" dt="2023-12-25T12:09:33.215" v="7845" actId="20577"/>
          <ac:spMkLst>
            <pc:docMk/>
            <pc:sldMk cId="402078865" sldId="4616"/>
            <ac:spMk id="3" creationId="{DB43095B-41E4-8EE4-349D-C60111299327}"/>
          </ac:spMkLst>
        </pc:spChg>
        <pc:spChg chg="add mod">
          <ac:chgData name="Sudarshan Chakravarthi" userId="9632d19e-631d-46a5-9e9a-d9cc496f17d0" providerId="ADAL" clId="{AD7277C3-5615-434A-A528-067A3D535B9E}" dt="2023-12-25T11:33:26.526" v="5283"/>
          <ac:spMkLst>
            <pc:docMk/>
            <pc:sldMk cId="402078865" sldId="4616"/>
            <ac:spMk id="4" creationId="{0487E37D-4F67-F252-83CB-BDE3563DED2B}"/>
          </ac:spMkLst>
        </pc:spChg>
        <pc:spChg chg="add mod ord">
          <ac:chgData name="Sudarshan Chakravarthi" userId="9632d19e-631d-46a5-9e9a-d9cc496f17d0" providerId="ADAL" clId="{AD7277C3-5615-434A-A528-067A3D535B9E}" dt="2023-12-25T12:12:50.792" v="7967" actId="1076"/>
          <ac:spMkLst>
            <pc:docMk/>
            <pc:sldMk cId="402078865" sldId="4616"/>
            <ac:spMk id="5" creationId="{2E9DBE41-FC48-E24C-E6F0-93DA11E8A33A}"/>
          </ac:spMkLst>
        </pc:spChg>
        <pc:picChg chg="add mod">
          <ac:chgData name="Sudarshan Chakravarthi" userId="9632d19e-631d-46a5-9e9a-d9cc496f17d0" providerId="ADAL" clId="{AD7277C3-5615-434A-A528-067A3D535B9E}" dt="2023-12-25T11:33:26.526" v="5283"/>
          <ac:picMkLst>
            <pc:docMk/>
            <pc:sldMk cId="402078865" sldId="4616"/>
            <ac:picMk id="2" creationId="{77D07F80-6653-217E-7808-5A81A16EEF02}"/>
          </ac:picMkLst>
        </pc:picChg>
        <pc:picChg chg="add mod">
          <ac:chgData name="Sudarshan Chakravarthi" userId="9632d19e-631d-46a5-9e9a-d9cc496f17d0" providerId="ADAL" clId="{AD7277C3-5615-434A-A528-067A3D535B9E}" dt="2023-12-25T12:12:59.769" v="7970" actId="1076"/>
          <ac:picMkLst>
            <pc:docMk/>
            <pc:sldMk cId="402078865" sldId="4616"/>
            <ac:picMk id="7" creationId="{FF52D212-A6C1-6FE7-5C23-FF7529E64CB6}"/>
          </ac:picMkLst>
        </pc:picChg>
        <pc:picChg chg="add mod">
          <ac:chgData name="Sudarshan Chakravarthi" userId="9632d19e-631d-46a5-9e9a-d9cc496f17d0" providerId="ADAL" clId="{AD7277C3-5615-434A-A528-067A3D535B9E}" dt="2023-12-25T12:12:55.616" v="7969" actId="1076"/>
          <ac:picMkLst>
            <pc:docMk/>
            <pc:sldMk cId="402078865" sldId="4616"/>
            <ac:picMk id="9" creationId="{25B54E45-368C-903C-6E83-E798C7B96E00}"/>
          </ac:picMkLst>
        </pc:picChg>
        <pc:picChg chg="add mod">
          <ac:chgData name="Sudarshan Chakravarthi" userId="9632d19e-631d-46a5-9e9a-d9cc496f17d0" providerId="ADAL" clId="{AD7277C3-5615-434A-A528-067A3D535B9E}" dt="2023-12-25T12:13:17.029" v="7975" actId="1076"/>
          <ac:picMkLst>
            <pc:docMk/>
            <pc:sldMk cId="402078865" sldId="4616"/>
            <ac:picMk id="11" creationId="{9A593CEB-7CDD-35FB-1C5F-8658BEED9192}"/>
          </ac:picMkLst>
        </pc:picChg>
        <pc:picChg chg="add mod">
          <ac:chgData name="Sudarshan Chakravarthi" userId="9632d19e-631d-46a5-9e9a-d9cc496f17d0" providerId="ADAL" clId="{AD7277C3-5615-434A-A528-067A3D535B9E}" dt="2023-12-25T12:13:04.517" v="7972" actId="1076"/>
          <ac:picMkLst>
            <pc:docMk/>
            <pc:sldMk cId="402078865" sldId="4616"/>
            <ac:picMk id="13" creationId="{24AE5B88-8205-D571-88C6-CBB3C91A3FEB}"/>
          </ac:picMkLst>
        </pc:picChg>
        <pc:picChg chg="add mod">
          <ac:chgData name="Sudarshan Chakravarthi" userId="9632d19e-631d-46a5-9e9a-d9cc496f17d0" providerId="ADAL" clId="{AD7277C3-5615-434A-A528-067A3D535B9E}" dt="2023-12-25T12:13:07.766" v="7973" actId="1076"/>
          <ac:picMkLst>
            <pc:docMk/>
            <pc:sldMk cId="402078865" sldId="4616"/>
            <ac:picMk id="15" creationId="{C5B4DD1C-D32F-3D9D-B947-083B234FBD10}"/>
          </ac:picMkLst>
        </pc:picChg>
        <pc:picChg chg="add mod">
          <ac:chgData name="Sudarshan Chakravarthi" userId="9632d19e-631d-46a5-9e9a-d9cc496f17d0" providerId="ADAL" clId="{AD7277C3-5615-434A-A528-067A3D535B9E}" dt="2023-12-25T12:13:25.992" v="7978" actId="1076"/>
          <ac:picMkLst>
            <pc:docMk/>
            <pc:sldMk cId="402078865" sldId="4616"/>
            <ac:picMk id="1026" creationId="{5954C22E-B4D5-4F3A-7470-B86F37B414AF}"/>
          </ac:picMkLst>
        </pc:picChg>
      </pc:sldChg>
      <pc:sldChg chg="addSp modSp new mod">
        <pc:chgData name="Sudarshan Chakravarthi" userId="9632d19e-631d-46a5-9e9a-d9cc496f17d0" providerId="ADAL" clId="{AD7277C3-5615-434A-A528-067A3D535B9E}" dt="2023-12-25T12:48:13.464" v="8026" actId="1036"/>
        <pc:sldMkLst>
          <pc:docMk/>
          <pc:sldMk cId="3068829829" sldId="4617"/>
        </pc:sldMkLst>
        <pc:spChg chg="add mod">
          <ac:chgData name="Sudarshan Chakravarthi" userId="9632d19e-631d-46a5-9e9a-d9cc496f17d0" providerId="ADAL" clId="{AD7277C3-5615-434A-A528-067A3D535B9E}" dt="2023-12-25T12:48:13.464" v="8026" actId="1036"/>
          <ac:spMkLst>
            <pc:docMk/>
            <pc:sldMk cId="3068829829" sldId="4617"/>
            <ac:spMk id="2" creationId="{AA43227C-05AE-094A-1ABC-90277CD8F89B}"/>
          </ac:spMkLst>
        </pc:spChg>
      </pc:sldChg>
    </pc:docChg>
  </pc:docChgLst>
  <pc:docChgLst>
    <pc:chgData name="Sudarshan Chakravarthi" userId="9632d19e-631d-46a5-9e9a-d9cc496f17d0" providerId="ADAL" clId="{63A24096-72D8-4649-90F9-8C7852F0D588}"/>
    <pc:docChg chg="custSel addSld delSld modSld">
      <pc:chgData name="Sudarshan Chakravarthi" userId="9632d19e-631d-46a5-9e9a-d9cc496f17d0" providerId="ADAL" clId="{63A24096-72D8-4649-90F9-8C7852F0D588}" dt="2023-03-22T16:59:00.267" v="235" actId="680"/>
      <pc:docMkLst>
        <pc:docMk/>
      </pc:docMkLst>
      <pc:sldChg chg="delSp del mod">
        <pc:chgData name="Sudarshan Chakravarthi" userId="9632d19e-631d-46a5-9e9a-d9cc496f17d0" providerId="ADAL" clId="{63A24096-72D8-4649-90F9-8C7852F0D588}" dt="2023-03-22T13:11:03.075" v="31" actId="47"/>
        <pc:sldMkLst>
          <pc:docMk/>
          <pc:sldMk cId="270614423" sldId="256"/>
        </pc:sldMkLst>
        <pc:spChg chg="del">
          <ac:chgData name="Sudarshan Chakravarthi" userId="9632d19e-631d-46a5-9e9a-d9cc496f17d0" providerId="ADAL" clId="{63A24096-72D8-4649-90F9-8C7852F0D588}" dt="2023-03-22T13:03:56.510" v="0" actId="478"/>
          <ac:spMkLst>
            <pc:docMk/>
            <pc:sldMk cId="270614423" sldId="256"/>
            <ac:spMk id="2" creationId="{9710AA17-8DFA-B323-55B0-755514EB3A8A}"/>
          </ac:spMkLst>
        </pc:spChg>
        <pc:spChg chg="del">
          <ac:chgData name="Sudarshan Chakravarthi" userId="9632d19e-631d-46a5-9e9a-d9cc496f17d0" providerId="ADAL" clId="{63A24096-72D8-4649-90F9-8C7852F0D588}" dt="2023-03-22T13:03:56.510" v="0" actId="478"/>
          <ac:spMkLst>
            <pc:docMk/>
            <pc:sldMk cId="270614423" sldId="256"/>
            <ac:spMk id="3" creationId="{DA413D65-D672-A18D-122C-89927C3CE59B}"/>
          </ac:spMkLst>
        </pc:spChg>
      </pc:sldChg>
      <pc:sldChg chg="add del">
        <pc:chgData name="Sudarshan Chakravarthi" userId="9632d19e-631d-46a5-9e9a-d9cc496f17d0" providerId="ADAL" clId="{63A24096-72D8-4649-90F9-8C7852F0D588}" dt="2023-03-22T13:06:03.247" v="4"/>
        <pc:sldMkLst>
          <pc:docMk/>
          <pc:sldMk cId="1257219027" sldId="3316"/>
        </pc:sldMkLst>
      </pc:sldChg>
      <pc:sldChg chg="add del">
        <pc:chgData name="Sudarshan Chakravarthi" userId="9632d19e-631d-46a5-9e9a-d9cc496f17d0" providerId="ADAL" clId="{63A24096-72D8-4649-90F9-8C7852F0D588}" dt="2023-03-22T13:06:03.247" v="4"/>
        <pc:sldMkLst>
          <pc:docMk/>
          <pc:sldMk cId="4227603708" sldId="3874"/>
        </pc:sldMkLst>
      </pc:sldChg>
      <pc:sldChg chg="add del">
        <pc:chgData name="Sudarshan Chakravarthi" userId="9632d19e-631d-46a5-9e9a-d9cc496f17d0" providerId="ADAL" clId="{63A24096-72D8-4649-90F9-8C7852F0D588}" dt="2023-03-22T13:06:03.247" v="4"/>
        <pc:sldMkLst>
          <pc:docMk/>
          <pc:sldMk cId="1512399725" sldId="3878"/>
        </pc:sldMkLst>
      </pc:sldChg>
      <pc:sldChg chg="add del">
        <pc:chgData name="Sudarshan Chakravarthi" userId="9632d19e-631d-46a5-9e9a-d9cc496f17d0" providerId="ADAL" clId="{63A24096-72D8-4649-90F9-8C7852F0D588}" dt="2023-03-22T13:10:06.640" v="8"/>
        <pc:sldMkLst>
          <pc:docMk/>
          <pc:sldMk cId="3097043110" sldId="3965"/>
        </pc:sldMkLst>
      </pc:sldChg>
      <pc:sldChg chg="add del">
        <pc:chgData name="Sudarshan Chakravarthi" userId="9632d19e-631d-46a5-9e9a-d9cc496f17d0" providerId="ADAL" clId="{63A24096-72D8-4649-90F9-8C7852F0D588}" dt="2023-03-22T13:10:06.640" v="8"/>
        <pc:sldMkLst>
          <pc:docMk/>
          <pc:sldMk cId="4149201057" sldId="3968"/>
        </pc:sldMkLst>
      </pc:sldChg>
      <pc:sldChg chg="add del">
        <pc:chgData name="Sudarshan Chakravarthi" userId="9632d19e-631d-46a5-9e9a-d9cc496f17d0" providerId="ADAL" clId="{63A24096-72D8-4649-90F9-8C7852F0D588}" dt="2023-03-22T13:06:03.247" v="4"/>
        <pc:sldMkLst>
          <pc:docMk/>
          <pc:sldMk cId="2058101268" sldId="4212"/>
        </pc:sldMkLst>
      </pc:sldChg>
      <pc:sldChg chg="modSp add del mod">
        <pc:chgData name="Sudarshan Chakravarthi" userId="9632d19e-631d-46a5-9e9a-d9cc496f17d0" providerId="ADAL" clId="{63A24096-72D8-4649-90F9-8C7852F0D588}" dt="2023-03-22T13:10:25.442" v="26" actId="14100"/>
        <pc:sldMkLst>
          <pc:docMk/>
          <pc:sldMk cId="1805402828" sldId="4213"/>
        </pc:sldMkLst>
        <pc:spChg chg="mod">
          <ac:chgData name="Sudarshan Chakravarthi" userId="9632d19e-631d-46a5-9e9a-d9cc496f17d0" providerId="ADAL" clId="{63A24096-72D8-4649-90F9-8C7852F0D588}" dt="2023-03-22T13:10:11.094" v="13" actId="6549"/>
          <ac:spMkLst>
            <pc:docMk/>
            <pc:sldMk cId="1805402828" sldId="4213"/>
            <ac:spMk id="6" creationId="{BD7AA0B0-B891-B97B-6E9D-8856CC601784}"/>
          </ac:spMkLst>
        </pc:spChg>
        <pc:spChg chg="mod">
          <ac:chgData name="Sudarshan Chakravarthi" userId="9632d19e-631d-46a5-9e9a-d9cc496f17d0" providerId="ADAL" clId="{63A24096-72D8-4649-90F9-8C7852F0D588}" dt="2023-03-22T13:10:25.442" v="26" actId="14100"/>
          <ac:spMkLst>
            <pc:docMk/>
            <pc:sldMk cId="1805402828" sldId="4213"/>
            <ac:spMk id="15" creationId="{50709A3E-8602-46AD-B797-5EAFDCDBDC85}"/>
          </ac:spMkLst>
        </pc:spChg>
      </pc:sldChg>
      <pc:sldChg chg="add del">
        <pc:chgData name="Sudarshan Chakravarthi" userId="9632d19e-631d-46a5-9e9a-d9cc496f17d0" providerId="ADAL" clId="{63A24096-72D8-4649-90F9-8C7852F0D588}" dt="2023-03-22T13:06:03.247" v="4"/>
        <pc:sldMkLst>
          <pc:docMk/>
          <pc:sldMk cId="155766468" sldId="4216"/>
        </pc:sldMkLst>
      </pc:sldChg>
      <pc:sldChg chg="add del">
        <pc:chgData name="Sudarshan Chakravarthi" userId="9632d19e-631d-46a5-9e9a-d9cc496f17d0" providerId="ADAL" clId="{63A24096-72D8-4649-90F9-8C7852F0D588}" dt="2023-03-22T13:06:03.247" v="4"/>
        <pc:sldMkLst>
          <pc:docMk/>
          <pc:sldMk cId="3470099226" sldId="4219"/>
        </pc:sldMkLst>
      </pc:sldChg>
      <pc:sldChg chg="add del">
        <pc:chgData name="Sudarshan Chakravarthi" userId="9632d19e-631d-46a5-9e9a-d9cc496f17d0" providerId="ADAL" clId="{63A24096-72D8-4649-90F9-8C7852F0D588}" dt="2023-03-22T13:06:03.247" v="4"/>
        <pc:sldMkLst>
          <pc:docMk/>
          <pc:sldMk cId="1495713330" sldId="4220"/>
        </pc:sldMkLst>
      </pc:sldChg>
      <pc:sldChg chg="add del">
        <pc:chgData name="Sudarshan Chakravarthi" userId="9632d19e-631d-46a5-9e9a-d9cc496f17d0" providerId="ADAL" clId="{63A24096-72D8-4649-90F9-8C7852F0D588}" dt="2023-03-22T13:06:03.247" v="4"/>
        <pc:sldMkLst>
          <pc:docMk/>
          <pc:sldMk cId="3745045534" sldId="4222"/>
        </pc:sldMkLst>
      </pc:sldChg>
      <pc:sldChg chg="add del">
        <pc:chgData name="Sudarshan Chakravarthi" userId="9632d19e-631d-46a5-9e9a-d9cc496f17d0" providerId="ADAL" clId="{63A24096-72D8-4649-90F9-8C7852F0D588}" dt="2023-03-22T13:06:03.247" v="4"/>
        <pc:sldMkLst>
          <pc:docMk/>
          <pc:sldMk cId="284487363" sldId="4225"/>
        </pc:sldMkLst>
      </pc:sldChg>
      <pc:sldChg chg="add del">
        <pc:chgData name="Sudarshan Chakravarthi" userId="9632d19e-631d-46a5-9e9a-d9cc496f17d0" providerId="ADAL" clId="{63A24096-72D8-4649-90F9-8C7852F0D588}" dt="2023-03-22T13:06:03.247" v="4"/>
        <pc:sldMkLst>
          <pc:docMk/>
          <pc:sldMk cId="1777480401" sldId="4226"/>
        </pc:sldMkLst>
      </pc:sldChg>
      <pc:sldChg chg="add del">
        <pc:chgData name="Sudarshan Chakravarthi" userId="9632d19e-631d-46a5-9e9a-d9cc496f17d0" providerId="ADAL" clId="{63A24096-72D8-4649-90F9-8C7852F0D588}" dt="2023-03-22T13:06:03.247" v="4"/>
        <pc:sldMkLst>
          <pc:docMk/>
          <pc:sldMk cId="78392423" sldId="4228"/>
        </pc:sldMkLst>
      </pc:sldChg>
      <pc:sldChg chg="add del">
        <pc:chgData name="Sudarshan Chakravarthi" userId="9632d19e-631d-46a5-9e9a-d9cc496f17d0" providerId="ADAL" clId="{63A24096-72D8-4649-90F9-8C7852F0D588}" dt="2023-03-22T13:06:03.247" v="4"/>
        <pc:sldMkLst>
          <pc:docMk/>
          <pc:sldMk cId="3509716165" sldId="4229"/>
        </pc:sldMkLst>
      </pc:sldChg>
      <pc:sldChg chg="add del">
        <pc:chgData name="Sudarshan Chakravarthi" userId="9632d19e-631d-46a5-9e9a-d9cc496f17d0" providerId="ADAL" clId="{63A24096-72D8-4649-90F9-8C7852F0D588}" dt="2023-03-22T13:06:03.247" v="4"/>
        <pc:sldMkLst>
          <pc:docMk/>
          <pc:sldMk cId="2445627982" sldId="4230"/>
        </pc:sldMkLst>
      </pc:sldChg>
      <pc:sldChg chg="add del">
        <pc:chgData name="Sudarshan Chakravarthi" userId="9632d19e-631d-46a5-9e9a-d9cc496f17d0" providerId="ADAL" clId="{63A24096-72D8-4649-90F9-8C7852F0D588}" dt="2023-03-22T13:06:03.247" v="4"/>
        <pc:sldMkLst>
          <pc:docMk/>
          <pc:sldMk cId="310649150" sldId="4231"/>
        </pc:sldMkLst>
      </pc:sldChg>
      <pc:sldChg chg="add del">
        <pc:chgData name="Sudarshan Chakravarthi" userId="9632d19e-631d-46a5-9e9a-d9cc496f17d0" providerId="ADAL" clId="{63A24096-72D8-4649-90F9-8C7852F0D588}" dt="2023-03-22T13:06:03.247" v="4"/>
        <pc:sldMkLst>
          <pc:docMk/>
          <pc:sldMk cId="3808608602" sldId="4232"/>
        </pc:sldMkLst>
      </pc:sldChg>
      <pc:sldChg chg="add del">
        <pc:chgData name="Sudarshan Chakravarthi" userId="9632d19e-631d-46a5-9e9a-d9cc496f17d0" providerId="ADAL" clId="{63A24096-72D8-4649-90F9-8C7852F0D588}" dt="2023-03-22T13:06:03.247" v="4"/>
        <pc:sldMkLst>
          <pc:docMk/>
          <pc:sldMk cId="2824421007" sldId="4234"/>
        </pc:sldMkLst>
      </pc:sldChg>
      <pc:sldChg chg="add del">
        <pc:chgData name="Sudarshan Chakravarthi" userId="9632d19e-631d-46a5-9e9a-d9cc496f17d0" providerId="ADAL" clId="{63A24096-72D8-4649-90F9-8C7852F0D588}" dt="2023-03-22T13:06:03.247" v="4"/>
        <pc:sldMkLst>
          <pc:docMk/>
          <pc:sldMk cId="3871821696" sldId="4235"/>
        </pc:sldMkLst>
      </pc:sldChg>
      <pc:sldChg chg="add del">
        <pc:chgData name="Sudarshan Chakravarthi" userId="9632d19e-631d-46a5-9e9a-d9cc496f17d0" providerId="ADAL" clId="{63A24096-72D8-4649-90F9-8C7852F0D588}" dt="2023-03-22T13:06:03.247" v="4"/>
        <pc:sldMkLst>
          <pc:docMk/>
          <pc:sldMk cId="1659392497" sldId="4251"/>
        </pc:sldMkLst>
      </pc:sldChg>
      <pc:sldChg chg="add del">
        <pc:chgData name="Sudarshan Chakravarthi" userId="9632d19e-631d-46a5-9e9a-d9cc496f17d0" providerId="ADAL" clId="{63A24096-72D8-4649-90F9-8C7852F0D588}" dt="2023-03-22T13:06:03.247" v="4"/>
        <pc:sldMkLst>
          <pc:docMk/>
          <pc:sldMk cId="4231832348" sldId="4252"/>
        </pc:sldMkLst>
      </pc:sldChg>
      <pc:sldChg chg="add del">
        <pc:chgData name="Sudarshan Chakravarthi" userId="9632d19e-631d-46a5-9e9a-d9cc496f17d0" providerId="ADAL" clId="{63A24096-72D8-4649-90F9-8C7852F0D588}" dt="2023-03-22T13:06:03.247" v="4"/>
        <pc:sldMkLst>
          <pc:docMk/>
          <pc:sldMk cId="1268061230" sldId="4253"/>
        </pc:sldMkLst>
      </pc:sldChg>
      <pc:sldChg chg="add del">
        <pc:chgData name="Sudarshan Chakravarthi" userId="9632d19e-631d-46a5-9e9a-d9cc496f17d0" providerId="ADAL" clId="{63A24096-72D8-4649-90F9-8C7852F0D588}" dt="2023-03-22T13:06:03.247" v="4"/>
        <pc:sldMkLst>
          <pc:docMk/>
          <pc:sldMk cId="2822205349" sldId="4254"/>
        </pc:sldMkLst>
      </pc:sldChg>
      <pc:sldChg chg="addSp delSp modSp add del mod">
        <pc:chgData name="Sudarshan Chakravarthi" userId="9632d19e-631d-46a5-9e9a-d9cc496f17d0" providerId="ADAL" clId="{63A24096-72D8-4649-90F9-8C7852F0D588}" dt="2023-03-22T13:18:43.135" v="155" actId="478"/>
        <pc:sldMkLst>
          <pc:docMk/>
          <pc:sldMk cId="3803699210" sldId="4256"/>
        </pc:sldMkLst>
        <pc:spChg chg="add del mod">
          <ac:chgData name="Sudarshan Chakravarthi" userId="9632d19e-631d-46a5-9e9a-d9cc496f17d0" providerId="ADAL" clId="{63A24096-72D8-4649-90F9-8C7852F0D588}" dt="2023-03-22T13:18:43.135" v="155" actId="478"/>
          <ac:spMkLst>
            <pc:docMk/>
            <pc:sldMk cId="3803699210" sldId="4256"/>
            <ac:spMk id="4" creationId="{0BFCBD5E-164F-2B90-1C90-7A12CB0D45E0}"/>
          </ac:spMkLst>
        </pc:spChg>
        <pc:spChg chg="mod">
          <ac:chgData name="Sudarshan Chakravarthi" userId="9632d19e-631d-46a5-9e9a-d9cc496f17d0" providerId="ADAL" clId="{63A24096-72D8-4649-90F9-8C7852F0D588}" dt="2023-03-22T13:17:53.827" v="135" actId="21"/>
          <ac:spMkLst>
            <pc:docMk/>
            <pc:sldMk cId="3803699210" sldId="4256"/>
            <ac:spMk id="8" creationId="{1DF92EE4-D980-C071-05F3-C8033AEBB183}"/>
          </ac:spMkLst>
        </pc:spChg>
        <pc:spChg chg="mod">
          <ac:chgData name="Sudarshan Chakravarthi" userId="9632d19e-631d-46a5-9e9a-d9cc496f17d0" providerId="ADAL" clId="{63A24096-72D8-4649-90F9-8C7852F0D588}" dt="2023-03-22T13:18:18.282" v="152" actId="20577"/>
          <ac:spMkLst>
            <pc:docMk/>
            <pc:sldMk cId="3803699210" sldId="4256"/>
            <ac:spMk id="24" creationId="{F3CD965C-7947-FBBB-C5F0-7806EE3D0488}"/>
          </ac:spMkLst>
        </pc:spChg>
      </pc:sldChg>
      <pc:sldChg chg="add del">
        <pc:chgData name="Sudarshan Chakravarthi" userId="9632d19e-631d-46a5-9e9a-d9cc496f17d0" providerId="ADAL" clId="{63A24096-72D8-4649-90F9-8C7852F0D588}" dt="2023-03-22T13:06:03.247" v="4"/>
        <pc:sldMkLst>
          <pc:docMk/>
          <pc:sldMk cId="2888892022" sldId="4257"/>
        </pc:sldMkLst>
      </pc:sldChg>
      <pc:sldChg chg="add del">
        <pc:chgData name="Sudarshan Chakravarthi" userId="9632d19e-631d-46a5-9e9a-d9cc496f17d0" providerId="ADAL" clId="{63A24096-72D8-4649-90F9-8C7852F0D588}" dt="2023-03-22T13:06:03.247" v="4"/>
        <pc:sldMkLst>
          <pc:docMk/>
          <pc:sldMk cId="3694093292" sldId="4258"/>
        </pc:sldMkLst>
      </pc:sldChg>
      <pc:sldChg chg="add del">
        <pc:chgData name="Sudarshan Chakravarthi" userId="9632d19e-631d-46a5-9e9a-d9cc496f17d0" providerId="ADAL" clId="{63A24096-72D8-4649-90F9-8C7852F0D588}" dt="2023-03-22T13:06:03.247" v="4"/>
        <pc:sldMkLst>
          <pc:docMk/>
          <pc:sldMk cId="2924667156" sldId="4259"/>
        </pc:sldMkLst>
      </pc:sldChg>
      <pc:sldChg chg="add del">
        <pc:chgData name="Sudarshan Chakravarthi" userId="9632d19e-631d-46a5-9e9a-d9cc496f17d0" providerId="ADAL" clId="{63A24096-72D8-4649-90F9-8C7852F0D588}" dt="2023-03-22T13:06:03.247" v="4"/>
        <pc:sldMkLst>
          <pc:docMk/>
          <pc:sldMk cId="741184367" sldId="4260"/>
        </pc:sldMkLst>
      </pc:sldChg>
      <pc:sldChg chg="add del">
        <pc:chgData name="Sudarshan Chakravarthi" userId="9632d19e-631d-46a5-9e9a-d9cc496f17d0" providerId="ADAL" clId="{63A24096-72D8-4649-90F9-8C7852F0D588}" dt="2023-03-22T13:06:03.247" v="4"/>
        <pc:sldMkLst>
          <pc:docMk/>
          <pc:sldMk cId="3330381785" sldId="4261"/>
        </pc:sldMkLst>
      </pc:sldChg>
      <pc:sldChg chg="add del">
        <pc:chgData name="Sudarshan Chakravarthi" userId="9632d19e-631d-46a5-9e9a-d9cc496f17d0" providerId="ADAL" clId="{63A24096-72D8-4649-90F9-8C7852F0D588}" dt="2023-03-22T13:06:03.247" v="4"/>
        <pc:sldMkLst>
          <pc:docMk/>
          <pc:sldMk cId="3747872997" sldId="4262"/>
        </pc:sldMkLst>
      </pc:sldChg>
      <pc:sldChg chg="add del">
        <pc:chgData name="Sudarshan Chakravarthi" userId="9632d19e-631d-46a5-9e9a-d9cc496f17d0" providerId="ADAL" clId="{63A24096-72D8-4649-90F9-8C7852F0D588}" dt="2023-03-22T13:06:03.247" v="4"/>
        <pc:sldMkLst>
          <pc:docMk/>
          <pc:sldMk cId="2870269982" sldId="4263"/>
        </pc:sldMkLst>
      </pc:sldChg>
      <pc:sldChg chg="add del">
        <pc:chgData name="Sudarshan Chakravarthi" userId="9632d19e-631d-46a5-9e9a-d9cc496f17d0" providerId="ADAL" clId="{63A24096-72D8-4649-90F9-8C7852F0D588}" dt="2023-03-22T13:06:03.247" v="4"/>
        <pc:sldMkLst>
          <pc:docMk/>
          <pc:sldMk cId="2808061439" sldId="4330"/>
        </pc:sldMkLst>
      </pc:sldChg>
      <pc:sldChg chg="modSp add del mod">
        <pc:chgData name="Sudarshan Chakravarthi" userId="9632d19e-631d-46a5-9e9a-d9cc496f17d0" providerId="ADAL" clId="{63A24096-72D8-4649-90F9-8C7852F0D588}" dt="2023-03-22T16:58:35.159" v="234" actId="1076"/>
        <pc:sldMkLst>
          <pc:docMk/>
          <pc:sldMk cId="1842291741" sldId="4354"/>
        </pc:sldMkLst>
        <pc:spChg chg="mod">
          <ac:chgData name="Sudarshan Chakravarthi" userId="9632d19e-631d-46a5-9e9a-d9cc496f17d0" providerId="ADAL" clId="{63A24096-72D8-4649-90F9-8C7852F0D588}" dt="2023-03-22T16:58:35.159" v="234" actId="1076"/>
          <ac:spMkLst>
            <pc:docMk/>
            <pc:sldMk cId="1842291741" sldId="4354"/>
            <ac:spMk id="5" creationId="{96C486B8-B2CE-D2AA-37DD-44943C227CB9}"/>
          </ac:spMkLst>
        </pc:spChg>
        <pc:spChg chg="mod">
          <ac:chgData name="Sudarshan Chakravarthi" userId="9632d19e-631d-46a5-9e9a-d9cc496f17d0" providerId="ADAL" clId="{63A24096-72D8-4649-90F9-8C7852F0D588}" dt="2023-03-22T16:58:27.044" v="233" actId="313"/>
          <ac:spMkLst>
            <pc:docMk/>
            <pc:sldMk cId="1842291741" sldId="4354"/>
            <ac:spMk id="7" creationId="{8D473A24-9D53-69C5-594B-FFCB2675807C}"/>
          </ac:spMkLst>
        </pc:spChg>
        <pc:spChg chg="mod">
          <ac:chgData name="Sudarshan Chakravarthi" userId="9632d19e-631d-46a5-9e9a-d9cc496f17d0" providerId="ADAL" clId="{63A24096-72D8-4649-90F9-8C7852F0D588}" dt="2023-03-22T16:57:15.218" v="218" actId="6549"/>
          <ac:spMkLst>
            <pc:docMk/>
            <pc:sldMk cId="1842291741" sldId="4354"/>
            <ac:spMk id="13" creationId="{EB8403E3-9F6E-6DAE-FF2A-FB39B822F373}"/>
          </ac:spMkLst>
        </pc:spChg>
        <pc:spChg chg="mod">
          <ac:chgData name="Sudarshan Chakravarthi" userId="9632d19e-631d-46a5-9e9a-d9cc496f17d0" providerId="ADAL" clId="{63A24096-72D8-4649-90F9-8C7852F0D588}" dt="2023-03-22T16:58:21.547" v="231" actId="1076"/>
          <ac:spMkLst>
            <pc:docMk/>
            <pc:sldMk cId="1842291741" sldId="4354"/>
            <ac:spMk id="15" creationId="{87ADC6EB-3B40-053C-45A9-D9760476D82E}"/>
          </ac:spMkLst>
        </pc:spChg>
        <pc:grpChg chg="mod">
          <ac:chgData name="Sudarshan Chakravarthi" userId="9632d19e-631d-46a5-9e9a-d9cc496f17d0" providerId="ADAL" clId="{63A24096-72D8-4649-90F9-8C7852F0D588}" dt="2023-03-22T16:58:21.547" v="231" actId="1076"/>
          <ac:grpSpMkLst>
            <pc:docMk/>
            <pc:sldMk cId="1842291741" sldId="4354"/>
            <ac:grpSpMk id="14" creationId="{A91651E6-A016-7A43-B88C-F503B5651CCC}"/>
          </ac:grpSpMkLst>
        </pc:grpChg>
        <pc:graphicFrameChg chg="mod">
          <ac:chgData name="Sudarshan Chakravarthi" userId="9632d19e-631d-46a5-9e9a-d9cc496f17d0" providerId="ADAL" clId="{63A24096-72D8-4649-90F9-8C7852F0D588}" dt="2023-03-22T16:58:21.547" v="231" actId="1076"/>
          <ac:graphicFrameMkLst>
            <pc:docMk/>
            <pc:sldMk cId="1842291741" sldId="4354"/>
            <ac:graphicFrameMk id="2" creationId="{1C748390-8EDC-0FF6-AAE4-CA63992F4EEB}"/>
          </ac:graphicFrameMkLst>
        </pc:graphicFrameChg>
      </pc:sldChg>
      <pc:sldChg chg="modSp add del mod">
        <pc:chgData name="Sudarshan Chakravarthi" userId="9632d19e-631d-46a5-9e9a-d9cc496f17d0" providerId="ADAL" clId="{63A24096-72D8-4649-90F9-8C7852F0D588}" dt="2023-03-22T16:56:27.802" v="213" actId="6549"/>
        <pc:sldMkLst>
          <pc:docMk/>
          <pc:sldMk cId="1919023873" sldId="4355"/>
        </pc:sldMkLst>
        <pc:spChg chg="mod">
          <ac:chgData name="Sudarshan Chakravarthi" userId="9632d19e-631d-46a5-9e9a-d9cc496f17d0" providerId="ADAL" clId="{63A24096-72D8-4649-90F9-8C7852F0D588}" dt="2023-03-22T16:56:27.802" v="213" actId="6549"/>
          <ac:spMkLst>
            <pc:docMk/>
            <pc:sldMk cId="1919023873" sldId="4355"/>
            <ac:spMk id="8" creationId="{D2BEED8B-A81F-5001-5FF3-FF3BAC24D8EB}"/>
          </ac:spMkLst>
        </pc:spChg>
      </pc:sldChg>
      <pc:sldChg chg="modSp add">
        <pc:chgData name="Sudarshan Chakravarthi" userId="9632d19e-631d-46a5-9e9a-d9cc496f17d0" providerId="ADAL" clId="{63A24096-72D8-4649-90F9-8C7852F0D588}" dt="2023-03-22T13:06:42.816" v="5" actId="16037"/>
        <pc:sldMkLst>
          <pc:docMk/>
          <pc:sldMk cId="499117907" sldId="4356"/>
        </pc:sldMkLst>
        <pc:graphicFrameChg chg="mod">
          <ac:chgData name="Sudarshan Chakravarthi" userId="9632d19e-631d-46a5-9e9a-d9cc496f17d0" providerId="ADAL" clId="{63A24096-72D8-4649-90F9-8C7852F0D588}" dt="2023-03-22T13:06:42.816" v="5" actId="16037"/>
          <ac:graphicFrameMkLst>
            <pc:docMk/>
            <pc:sldMk cId="499117907" sldId="4356"/>
            <ac:graphicFrameMk id="7" creationId="{69CCC913-66C2-E876-7694-90092512E8D5}"/>
          </ac:graphicFrameMkLst>
        </pc:graphicFrameChg>
      </pc:sldChg>
      <pc:sldChg chg="delSp modSp add del mod">
        <pc:chgData name="Sudarshan Chakravarthi" userId="9632d19e-631d-46a5-9e9a-d9cc496f17d0" providerId="ADAL" clId="{63A24096-72D8-4649-90F9-8C7852F0D588}" dt="2023-03-22T16:56:17.101" v="202" actId="478"/>
        <pc:sldMkLst>
          <pc:docMk/>
          <pc:sldMk cId="1152931146" sldId="4358"/>
        </pc:sldMkLst>
        <pc:spChg chg="del">
          <ac:chgData name="Sudarshan Chakravarthi" userId="9632d19e-631d-46a5-9e9a-d9cc496f17d0" providerId="ADAL" clId="{63A24096-72D8-4649-90F9-8C7852F0D588}" dt="2023-03-22T16:56:17.101" v="202" actId="478"/>
          <ac:spMkLst>
            <pc:docMk/>
            <pc:sldMk cId="1152931146" sldId="4358"/>
            <ac:spMk id="2" creationId="{324C8B06-D7EE-8365-D450-4568E9DE783D}"/>
          </ac:spMkLst>
        </pc:spChg>
        <pc:spChg chg="mod">
          <ac:chgData name="Sudarshan Chakravarthi" userId="9632d19e-631d-46a5-9e9a-d9cc496f17d0" providerId="ADAL" clId="{63A24096-72D8-4649-90F9-8C7852F0D588}" dt="2023-03-22T16:54:54.493" v="157" actId="1076"/>
          <ac:spMkLst>
            <pc:docMk/>
            <pc:sldMk cId="1152931146" sldId="4358"/>
            <ac:spMk id="3" creationId="{8B1DE42F-235C-6247-9833-609774BAE32D}"/>
          </ac:spMkLst>
        </pc:spChg>
        <pc:spChg chg="mod">
          <ac:chgData name="Sudarshan Chakravarthi" userId="9632d19e-631d-46a5-9e9a-d9cc496f17d0" providerId="ADAL" clId="{63A24096-72D8-4649-90F9-8C7852F0D588}" dt="2023-03-22T16:55:51.938" v="201" actId="6549"/>
          <ac:spMkLst>
            <pc:docMk/>
            <pc:sldMk cId="1152931146" sldId="4358"/>
            <ac:spMk id="6" creationId="{D5B63F72-B9D1-63CC-4A40-32263F862A05}"/>
          </ac:spMkLst>
        </pc:spChg>
      </pc:sldChg>
      <pc:sldChg chg="add del">
        <pc:chgData name="Sudarshan Chakravarthi" userId="9632d19e-631d-46a5-9e9a-d9cc496f17d0" providerId="ADAL" clId="{63A24096-72D8-4649-90F9-8C7852F0D588}" dt="2023-03-22T13:10:06.640" v="8"/>
        <pc:sldMkLst>
          <pc:docMk/>
          <pc:sldMk cId="2434400758" sldId="4412"/>
        </pc:sldMkLst>
      </pc:sldChg>
      <pc:sldChg chg="add del">
        <pc:chgData name="Sudarshan Chakravarthi" userId="9632d19e-631d-46a5-9e9a-d9cc496f17d0" providerId="ADAL" clId="{63A24096-72D8-4649-90F9-8C7852F0D588}" dt="2023-03-22T13:10:06.640" v="8"/>
        <pc:sldMkLst>
          <pc:docMk/>
          <pc:sldMk cId="4025944570" sldId="4415"/>
        </pc:sldMkLst>
      </pc:sldChg>
      <pc:sldChg chg="add del">
        <pc:chgData name="Sudarshan Chakravarthi" userId="9632d19e-631d-46a5-9e9a-d9cc496f17d0" providerId="ADAL" clId="{63A24096-72D8-4649-90F9-8C7852F0D588}" dt="2023-03-22T13:06:03.247" v="4"/>
        <pc:sldMkLst>
          <pc:docMk/>
          <pc:sldMk cId="2953145738" sldId="4534"/>
        </pc:sldMkLst>
      </pc:sldChg>
      <pc:sldChg chg="add del">
        <pc:chgData name="Sudarshan Chakravarthi" userId="9632d19e-631d-46a5-9e9a-d9cc496f17d0" providerId="ADAL" clId="{63A24096-72D8-4649-90F9-8C7852F0D588}" dt="2023-03-22T13:06:03.247" v="4"/>
        <pc:sldMkLst>
          <pc:docMk/>
          <pc:sldMk cId="1652919126" sldId="4535"/>
        </pc:sldMkLst>
      </pc:sldChg>
      <pc:sldChg chg="add del">
        <pc:chgData name="Sudarshan Chakravarthi" userId="9632d19e-631d-46a5-9e9a-d9cc496f17d0" providerId="ADAL" clId="{63A24096-72D8-4649-90F9-8C7852F0D588}" dt="2023-03-22T13:06:03.247" v="4"/>
        <pc:sldMkLst>
          <pc:docMk/>
          <pc:sldMk cId="3831848483" sldId="4537"/>
        </pc:sldMkLst>
      </pc:sldChg>
      <pc:sldChg chg="add del">
        <pc:chgData name="Sudarshan Chakravarthi" userId="9632d19e-631d-46a5-9e9a-d9cc496f17d0" providerId="ADAL" clId="{63A24096-72D8-4649-90F9-8C7852F0D588}" dt="2023-03-22T13:06:03.247" v="4"/>
        <pc:sldMkLst>
          <pc:docMk/>
          <pc:sldMk cId="4216718422" sldId="4538"/>
        </pc:sldMkLst>
      </pc:sldChg>
      <pc:sldChg chg="add del">
        <pc:chgData name="Sudarshan Chakravarthi" userId="9632d19e-631d-46a5-9e9a-d9cc496f17d0" providerId="ADAL" clId="{63A24096-72D8-4649-90F9-8C7852F0D588}" dt="2023-03-22T13:06:03.247" v="4"/>
        <pc:sldMkLst>
          <pc:docMk/>
          <pc:sldMk cId="327809402" sldId="4539"/>
        </pc:sldMkLst>
      </pc:sldChg>
      <pc:sldChg chg="add del">
        <pc:chgData name="Sudarshan Chakravarthi" userId="9632d19e-631d-46a5-9e9a-d9cc496f17d0" providerId="ADAL" clId="{63A24096-72D8-4649-90F9-8C7852F0D588}" dt="2023-03-22T13:06:03.247" v="4"/>
        <pc:sldMkLst>
          <pc:docMk/>
          <pc:sldMk cId="3515747087" sldId="4540"/>
        </pc:sldMkLst>
      </pc:sldChg>
      <pc:sldChg chg="add del">
        <pc:chgData name="Sudarshan Chakravarthi" userId="9632d19e-631d-46a5-9e9a-d9cc496f17d0" providerId="ADAL" clId="{63A24096-72D8-4649-90F9-8C7852F0D588}" dt="2023-03-22T13:06:03.247" v="4"/>
        <pc:sldMkLst>
          <pc:docMk/>
          <pc:sldMk cId="2539246940" sldId="4579"/>
        </pc:sldMkLst>
      </pc:sldChg>
      <pc:sldChg chg="add del">
        <pc:chgData name="Sudarshan Chakravarthi" userId="9632d19e-631d-46a5-9e9a-d9cc496f17d0" providerId="ADAL" clId="{63A24096-72D8-4649-90F9-8C7852F0D588}" dt="2023-03-22T13:06:03.247" v="4"/>
        <pc:sldMkLst>
          <pc:docMk/>
          <pc:sldMk cId="2448431349" sldId="4580"/>
        </pc:sldMkLst>
      </pc:sldChg>
      <pc:sldChg chg="add del">
        <pc:chgData name="Sudarshan Chakravarthi" userId="9632d19e-631d-46a5-9e9a-d9cc496f17d0" providerId="ADAL" clId="{63A24096-72D8-4649-90F9-8C7852F0D588}" dt="2023-03-22T13:06:03.247" v="4"/>
        <pc:sldMkLst>
          <pc:docMk/>
          <pc:sldMk cId="4094098374" sldId="4581"/>
        </pc:sldMkLst>
      </pc:sldChg>
      <pc:sldChg chg="add del">
        <pc:chgData name="Sudarshan Chakravarthi" userId="9632d19e-631d-46a5-9e9a-d9cc496f17d0" providerId="ADAL" clId="{63A24096-72D8-4649-90F9-8C7852F0D588}" dt="2023-03-22T13:06:03.247" v="4"/>
        <pc:sldMkLst>
          <pc:docMk/>
          <pc:sldMk cId="3395766857" sldId="4582"/>
        </pc:sldMkLst>
      </pc:sldChg>
      <pc:sldChg chg="add del">
        <pc:chgData name="Sudarshan Chakravarthi" userId="9632d19e-631d-46a5-9e9a-d9cc496f17d0" providerId="ADAL" clId="{63A24096-72D8-4649-90F9-8C7852F0D588}" dt="2023-03-22T13:06:03.247" v="4"/>
        <pc:sldMkLst>
          <pc:docMk/>
          <pc:sldMk cId="367061939" sldId="4583"/>
        </pc:sldMkLst>
      </pc:sldChg>
      <pc:sldChg chg="add del">
        <pc:chgData name="Sudarshan Chakravarthi" userId="9632d19e-631d-46a5-9e9a-d9cc496f17d0" providerId="ADAL" clId="{63A24096-72D8-4649-90F9-8C7852F0D588}" dt="2023-03-22T13:06:03.247" v="4"/>
        <pc:sldMkLst>
          <pc:docMk/>
          <pc:sldMk cId="1497718699" sldId="4584"/>
        </pc:sldMkLst>
      </pc:sldChg>
      <pc:sldChg chg="add del">
        <pc:chgData name="Sudarshan Chakravarthi" userId="9632d19e-631d-46a5-9e9a-d9cc496f17d0" providerId="ADAL" clId="{63A24096-72D8-4649-90F9-8C7852F0D588}" dt="2023-03-22T13:06:03.247" v="4"/>
        <pc:sldMkLst>
          <pc:docMk/>
          <pc:sldMk cId="333191078" sldId="4585"/>
        </pc:sldMkLst>
      </pc:sldChg>
      <pc:sldChg chg="add del">
        <pc:chgData name="Sudarshan Chakravarthi" userId="9632d19e-631d-46a5-9e9a-d9cc496f17d0" providerId="ADAL" clId="{63A24096-72D8-4649-90F9-8C7852F0D588}" dt="2023-03-22T13:06:03.247" v="4"/>
        <pc:sldMkLst>
          <pc:docMk/>
          <pc:sldMk cId="1236313053" sldId="4586"/>
        </pc:sldMkLst>
      </pc:sldChg>
      <pc:sldChg chg="add del">
        <pc:chgData name="Sudarshan Chakravarthi" userId="9632d19e-631d-46a5-9e9a-d9cc496f17d0" providerId="ADAL" clId="{63A24096-72D8-4649-90F9-8C7852F0D588}" dt="2023-03-22T13:06:03.247" v="4"/>
        <pc:sldMkLst>
          <pc:docMk/>
          <pc:sldMk cId="3504199262" sldId="4588"/>
        </pc:sldMkLst>
      </pc:sldChg>
      <pc:sldChg chg="add del">
        <pc:chgData name="Sudarshan Chakravarthi" userId="9632d19e-631d-46a5-9e9a-d9cc496f17d0" providerId="ADAL" clId="{63A24096-72D8-4649-90F9-8C7852F0D588}" dt="2023-03-22T13:06:03.247" v="4"/>
        <pc:sldMkLst>
          <pc:docMk/>
          <pc:sldMk cId="879330796" sldId="4589"/>
        </pc:sldMkLst>
      </pc:sldChg>
      <pc:sldChg chg="add del">
        <pc:chgData name="Sudarshan Chakravarthi" userId="9632d19e-631d-46a5-9e9a-d9cc496f17d0" providerId="ADAL" clId="{63A24096-72D8-4649-90F9-8C7852F0D588}" dt="2023-03-22T13:06:03.247" v="4"/>
        <pc:sldMkLst>
          <pc:docMk/>
          <pc:sldMk cId="28880552" sldId="4590"/>
        </pc:sldMkLst>
      </pc:sldChg>
      <pc:sldChg chg="add del">
        <pc:chgData name="Sudarshan Chakravarthi" userId="9632d19e-631d-46a5-9e9a-d9cc496f17d0" providerId="ADAL" clId="{63A24096-72D8-4649-90F9-8C7852F0D588}" dt="2023-03-22T13:06:03.247" v="4"/>
        <pc:sldMkLst>
          <pc:docMk/>
          <pc:sldMk cId="1583129599" sldId="4591"/>
        </pc:sldMkLst>
      </pc:sldChg>
      <pc:sldChg chg="add del">
        <pc:chgData name="Sudarshan Chakravarthi" userId="9632d19e-631d-46a5-9e9a-d9cc496f17d0" providerId="ADAL" clId="{63A24096-72D8-4649-90F9-8C7852F0D588}" dt="2023-03-22T13:06:03.247" v="4"/>
        <pc:sldMkLst>
          <pc:docMk/>
          <pc:sldMk cId="3049326982" sldId="4592"/>
        </pc:sldMkLst>
      </pc:sldChg>
      <pc:sldChg chg="add del">
        <pc:chgData name="Sudarshan Chakravarthi" userId="9632d19e-631d-46a5-9e9a-d9cc496f17d0" providerId="ADAL" clId="{63A24096-72D8-4649-90F9-8C7852F0D588}" dt="2023-03-22T13:06:03.247" v="4"/>
        <pc:sldMkLst>
          <pc:docMk/>
          <pc:sldMk cId="1258704324" sldId="4593"/>
        </pc:sldMkLst>
      </pc:sldChg>
      <pc:sldChg chg="add del">
        <pc:chgData name="Sudarshan Chakravarthi" userId="9632d19e-631d-46a5-9e9a-d9cc496f17d0" providerId="ADAL" clId="{63A24096-72D8-4649-90F9-8C7852F0D588}" dt="2023-03-22T13:06:03.247" v="4"/>
        <pc:sldMkLst>
          <pc:docMk/>
          <pc:sldMk cId="845703025" sldId="4594"/>
        </pc:sldMkLst>
      </pc:sldChg>
      <pc:sldChg chg="add del">
        <pc:chgData name="Sudarshan Chakravarthi" userId="9632d19e-631d-46a5-9e9a-d9cc496f17d0" providerId="ADAL" clId="{63A24096-72D8-4649-90F9-8C7852F0D588}" dt="2023-03-22T13:06:03.247" v="4"/>
        <pc:sldMkLst>
          <pc:docMk/>
          <pc:sldMk cId="1982301847" sldId="4595"/>
        </pc:sldMkLst>
      </pc:sldChg>
      <pc:sldChg chg="add del">
        <pc:chgData name="Sudarshan Chakravarthi" userId="9632d19e-631d-46a5-9e9a-d9cc496f17d0" providerId="ADAL" clId="{63A24096-72D8-4649-90F9-8C7852F0D588}" dt="2023-03-22T13:06:03.247" v="4"/>
        <pc:sldMkLst>
          <pc:docMk/>
          <pc:sldMk cId="3812540057" sldId="4596"/>
        </pc:sldMkLst>
      </pc:sldChg>
      <pc:sldChg chg="add del">
        <pc:chgData name="Sudarshan Chakravarthi" userId="9632d19e-631d-46a5-9e9a-d9cc496f17d0" providerId="ADAL" clId="{63A24096-72D8-4649-90F9-8C7852F0D588}" dt="2023-03-22T13:06:03.247" v="4"/>
        <pc:sldMkLst>
          <pc:docMk/>
          <pc:sldMk cId="3595854153" sldId="4597"/>
        </pc:sldMkLst>
      </pc:sldChg>
      <pc:sldChg chg="add del">
        <pc:chgData name="Sudarshan Chakravarthi" userId="9632d19e-631d-46a5-9e9a-d9cc496f17d0" providerId="ADAL" clId="{63A24096-72D8-4649-90F9-8C7852F0D588}" dt="2023-03-22T13:06:03.247" v="4"/>
        <pc:sldMkLst>
          <pc:docMk/>
          <pc:sldMk cId="1604135182" sldId="4598"/>
        </pc:sldMkLst>
      </pc:sldChg>
      <pc:sldChg chg="add del">
        <pc:chgData name="Sudarshan Chakravarthi" userId="9632d19e-631d-46a5-9e9a-d9cc496f17d0" providerId="ADAL" clId="{63A24096-72D8-4649-90F9-8C7852F0D588}" dt="2023-03-22T13:06:03.247" v="4"/>
        <pc:sldMkLst>
          <pc:docMk/>
          <pc:sldMk cId="900395016" sldId="4599"/>
        </pc:sldMkLst>
      </pc:sldChg>
      <pc:sldChg chg="add del">
        <pc:chgData name="Sudarshan Chakravarthi" userId="9632d19e-631d-46a5-9e9a-d9cc496f17d0" providerId="ADAL" clId="{63A24096-72D8-4649-90F9-8C7852F0D588}" dt="2023-03-22T13:06:03.247" v="4"/>
        <pc:sldMkLst>
          <pc:docMk/>
          <pc:sldMk cId="4113552061" sldId="4600"/>
        </pc:sldMkLst>
      </pc:sldChg>
      <pc:sldChg chg="add del">
        <pc:chgData name="Sudarshan Chakravarthi" userId="9632d19e-631d-46a5-9e9a-d9cc496f17d0" providerId="ADAL" clId="{63A24096-72D8-4649-90F9-8C7852F0D588}" dt="2023-03-22T13:06:03.247" v="4"/>
        <pc:sldMkLst>
          <pc:docMk/>
          <pc:sldMk cId="1885984092" sldId="4604"/>
        </pc:sldMkLst>
      </pc:sldChg>
      <pc:sldChg chg="add del">
        <pc:chgData name="Sudarshan Chakravarthi" userId="9632d19e-631d-46a5-9e9a-d9cc496f17d0" providerId="ADAL" clId="{63A24096-72D8-4649-90F9-8C7852F0D588}" dt="2023-03-22T13:06:03.247" v="4"/>
        <pc:sldMkLst>
          <pc:docMk/>
          <pc:sldMk cId="699131560" sldId="4605"/>
        </pc:sldMkLst>
      </pc:sldChg>
      <pc:sldChg chg="add del">
        <pc:chgData name="Sudarshan Chakravarthi" userId="9632d19e-631d-46a5-9e9a-d9cc496f17d0" providerId="ADAL" clId="{63A24096-72D8-4649-90F9-8C7852F0D588}" dt="2023-03-22T13:10:41.049" v="28"/>
        <pc:sldMkLst>
          <pc:docMk/>
          <pc:sldMk cId="212742237" sldId="4606"/>
        </pc:sldMkLst>
      </pc:sldChg>
      <pc:sldChg chg="add">
        <pc:chgData name="Sudarshan Chakravarthi" userId="9632d19e-631d-46a5-9e9a-d9cc496f17d0" providerId="ADAL" clId="{63A24096-72D8-4649-90F9-8C7852F0D588}" dt="2023-03-22T13:10:41.065" v="29"/>
        <pc:sldMkLst>
          <pc:docMk/>
          <pc:sldMk cId="1737316441" sldId="4606"/>
        </pc:sldMkLst>
      </pc:sldChg>
      <pc:sldChg chg="add">
        <pc:chgData name="Sudarshan Chakravarthi" userId="9632d19e-631d-46a5-9e9a-d9cc496f17d0" providerId="ADAL" clId="{63A24096-72D8-4649-90F9-8C7852F0D588}" dt="2023-03-22T13:10:53.838" v="30"/>
        <pc:sldMkLst>
          <pc:docMk/>
          <pc:sldMk cId="3025515907" sldId="4607"/>
        </pc:sldMkLst>
      </pc:sldChg>
      <pc:sldChg chg="new">
        <pc:chgData name="Sudarshan Chakravarthi" userId="9632d19e-631d-46a5-9e9a-d9cc496f17d0" providerId="ADAL" clId="{63A24096-72D8-4649-90F9-8C7852F0D588}" dt="2023-03-22T16:59:00.267" v="235" actId="680"/>
        <pc:sldMkLst>
          <pc:docMk/>
          <pc:sldMk cId="175481642" sldId="4608"/>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7A20EF-AA45-4333-A669-B0E8D2F56772}" type="doc">
      <dgm:prSet loTypeId="urn:microsoft.com/office/officeart/2005/8/layout/pyramid1" loCatId="pyramid" qsTypeId="urn:microsoft.com/office/officeart/2005/8/quickstyle/simple1" qsCatId="simple" csTypeId="urn:microsoft.com/office/officeart/2005/8/colors/accent1_2" csCatId="accent1" phldr="1"/>
      <dgm:spPr/>
    </dgm:pt>
    <dgm:pt modelId="{119B55A2-0EC5-4521-A1B3-32ED3EBD61DC}">
      <dgm:prSet phldrT="[Text]" custT="1"/>
      <dgm:spPr>
        <a:solidFill>
          <a:schemeClr val="accent5">
            <a:lumMod val="75000"/>
          </a:schemeClr>
        </a:solidFill>
        <a:ln>
          <a:solidFill>
            <a:schemeClr val="tx1"/>
          </a:solidFill>
        </a:ln>
      </dgm:spPr>
      <dgm:t>
        <a:bodyPr/>
        <a:lstStyle/>
        <a:p>
          <a:r>
            <a:rPr lang="en-US" sz="800" b="1" dirty="0">
              <a:latin typeface="Calibri" pitchFamily="34" charset="0"/>
              <a:cs typeface="Calibri" pitchFamily="34" charset="0"/>
            </a:rPr>
            <a:t>-</a:t>
          </a:r>
        </a:p>
      </dgm:t>
    </dgm:pt>
    <dgm:pt modelId="{04DAEF53-EB6E-48E7-9347-4A8D122D5BC7}" type="parTrans" cxnId="{598AA2BB-2F91-47D9-B809-9B4FDB15588E}">
      <dgm:prSet/>
      <dgm:spPr/>
      <dgm:t>
        <a:bodyPr/>
        <a:lstStyle/>
        <a:p>
          <a:endParaRPr lang="en-US" sz="800" b="1">
            <a:latin typeface="Calibri" pitchFamily="34" charset="0"/>
            <a:cs typeface="Calibri" pitchFamily="34" charset="0"/>
          </a:endParaRPr>
        </a:p>
      </dgm:t>
    </dgm:pt>
    <dgm:pt modelId="{E7D9BC32-7095-4435-8698-DE0848D58B8D}" type="sibTrans" cxnId="{598AA2BB-2F91-47D9-B809-9B4FDB15588E}">
      <dgm:prSet/>
      <dgm:spPr/>
      <dgm:t>
        <a:bodyPr/>
        <a:lstStyle/>
        <a:p>
          <a:endParaRPr lang="en-US" sz="800" b="1">
            <a:latin typeface="Calibri" pitchFamily="34" charset="0"/>
            <a:cs typeface="Calibri" pitchFamily="34" charset="0"/>
          </a:endParaRPr>
        </a:p>
      </dgm:t>
    </dgm:pt>
    <dgm:pt modelId="{01D2A54F-33A8-4A02-AD1D-1553F8AC1063}">
      <dgm:prSet phldrT="[Text]" custT="1"/>
      <dgm:spPr>
        <a:solidFill>
          <a:schemeClr val="bg1"/>
        </a:solidFill>
        <a:ln>
          <a:solidFill>
            <a:schemeClr val="tx1"/>
          </a:solidFill>
        </a:ln>
      </dgm:spPr>
      <dgm:t>
        <a:bodyPr/>
        <a:lstStyle/>
        <a:p>
          <a:r>
            <a:rPr lang="en-US" sz="800" b="1" dirty="0">
              <a:latin typeface="Calibri" pitchFamily="34" charset="0"/>
              <a:cs typeface="Calibri" pitchFamily="34" charset="0"/>
            </a:rPr>
            <a:t>-</a:t>
          </a:r>
        </a:p>
      </dgm:t>
    </dgm:pt>
    <dgm:pt modelId="{8995C0E7-3D4E-4A27-BDFD-FD056338D789}" type="parTrans" cxnId="{A61AA3FC-88F4-4BB0-89D8-558BD5A4877F}">
      <dgm:prSet/>
      <dgm:spPr/>
      <dgm:t>
        <a:bodyPr/>
        <a:lstStyle/>
        <a:p>
          <a:endParaRPr lang="en-US" sz="800" b="1">
            <a:latin typeface="Calibri" pitchFamily="34" charset="0"/>
            <a:cs typeface="Calibri" pitchFamily="34" charset="0"/>
          </a:endParaRPr>
        </a:p>
      </dgm:t>
    </dgm:pt>
    <dgm:pt modelId="{F6F2B98A-D189-44CB-AD87-5A6B5D8FB047}" type="sibTrans" cxnId="{A61AA3FC-88F4-4BB0-89D8-558BD5A4877F}">
      <dgm:prSet/>
      <dgm:spPr/>
      <dgm:t>
        <a:bodyPr/>
        <a:lstStyle/>
        <a:p>
          <a:endParaRPr lang="en-US" sz="800" b="1">
            <a:latin typeface="Calibri" pitchFamily="34" charset="0"/>
            <a:cs typeface="Calibri" pitchFamily="34" charset="0"/>
          </a:endParaRPr>
        </a:p>
      </dgm:t>
    </dgm:pt>
    <dgm:pt modelId="{DA13AB80-2BB4-48B4-8079-AD06BAC88F74}">
      <dgm:prSet phldrT="[Text]" custT="1"/>
      <dgm:spPr>
        <a:solidFill>
          <a:schemeClr val="bg1"/>
        </a:solidFill>
        <a:ln>
          <a:solidFill>
            <a:schemeClr val="tx1"/>
          </a:solidFill>
        </a:ln>
      </dgm:spPr>
      <dgm:t>
        <a:bodyPr/>
        <a:lstStyle/>
        <a:p>
          <a:r>
            <a:rPr lang="en-US" sz="800" b="1" dirty="0">
              <a:latin typeface="Calibri" pitchFamily="34" charset="0"/>
              <a:cs typeface="Calibri" pitchFamily="34" charset="0"/>
            </a:rPr>
            <a:t>-</a:t>
          </a:r>
        </a:p>
      </dgm:t>
    </dgm:pt>
    <dgm:pt modelId="{3FCCB308-9D14-437D-89D7-94934A9A49D7}" type="parTrans" cxnId="{EA1961D9-5D5B-435D-A414-A78562663072}">
      <dgm:prSet/>
      <dgm:spPr/>
      <dgm:t>
        <a:bodyPr/>
        <a:lstStyle/>
        <a:p>
          <a:endParaRPr lang="en-US" sz="800" b="1">
            <a:latin typeface="Calibri" pitchFamily="34" charset="0"/>
            <a:cs typeface="Calibri" pitchFamily="34" charset="0"/>
          </a:endParaRPr>
        </a:p>
      </dgm:t>
    </dgm:pt>
    <dgm:pt modelId="{A85BC32B-BA54-4914-A50B-BBE388AD358A}" type="sibTrans" cxnId="{EA1961D9-5D5B-435D-A414-A78562663072}">
      <dgm:prSet/>
      <dgm:spPr/>
      <dgm:t>
        <a:bodyPr/>
        <a:lstStyle/>
        <a:p>
          <a:endParaRPr lang="en-US" sz="800" b="1">
            <a:latin typeface="Calibri" pitchFamily="34" charset="0"/>
            <a:cs typeface="Calibri" pitchFamily="34" charset="0"/>
          </a:endParaRPr>
        </a:p>
      </dgm:t>
    </dgm:pt>
    <dgm:pt modelId="{AAC0D9AE-F9EC-49DC-B138-6D6A9E4EF769}" type="pres">
      <dgm:prSet presAssocID="{A07A20EF-AA45-4333-A669-B0E8D2F56772}" presName="Name0" presStyleCnt="0">
        <dgm:presLayoutVars>
          <dgm:dir/>
          <dgm:animLvl val="lvl"/>
          <dgm:resizeHandles val="exact"/>
        </dgm:presLayoutVars>
      </dgm:prSet>
      <dgm:spPr/>
    </dgm:pt>
    <dgm:pt modelId="{21945518-E8E7-46C2-AF1D-54F05CBDF258}" type="pres">
      <dgm:prSet presAssocID="{119B55A2-0EC5-4521-A1B3-32ED3EBD61DC}" presName="Name8" presStyleCnt="0"/>
      <dgm:spPr/>
    </dgm:pt>
    <dgm:pt modelId="{5D59FF34-9F6B-4E47-BC81-ED7280DAF031}" type="pres">
      <dgm:prSet presAssocID="{119B55A2-0EC5-4521-A1B3-32ED3EBD61DC}" presName="level" presStyleLbl="node1" presStyleIdx="0" presStyleCnt="3">
        <dgm:presLayoutVars>
          <dgm:chMax val="1"/>
          <dgm:bulletEnabled val="1"/>
        </dgm:presLayoutVars>
      </dgm:prSet>
      <dgm:spPr/>
    </dgm:pt>
    <dgm:pt modelId="{6A3453D0-F490-4A90-AF28-DA247A1F60D2}" type="pres">
      <dgm:prSet presAssocID="{119B55A2-0EC5-4521-A1B3-32ED3EBD61DC}" presName="levelTx" presStyleLbl="revTx" presStyleIdx="0" presStyleCnt="0">
        <dgm:presLayoutVars>
          <dgm:chMax val="1"/>
          <dgm:bulletEnabled val="1"/>
        </dgm:presLayoutVars>
      </dgm:prSet>
      <dgm:spPr/>
    </dgm:pt>
    <dgm:pt modelId="{AF90D4EC-2558-411D-8C2E-38929BE87C40}" type="pres">
      <dgm:prSet presAssocID="{01D2A54F-33A8-4A02-AD1D-1553F8AC1063}" presName="Name8" presStyleCnt="0"/>
      <dgm:spPr/>
    </dgm:pt>
    <dgm:pt modelId="{230BBEA4-2BE2-4BA5-9365-A99A540F3750}" type="pres">
      <dgm:prSet presAssocID="{01D2A54F-33A8-4A02-AD1D-1553F8AC1063}" presName="level" presStyleLbl="node1" presStyleIdx="1" presStyleCnt="3">
        <dgm:presLayoutVars>
          <dgm:chMax val="1"/>
          <dgm:bulletEnabled val="1"/>
        </dgm:presLayoutVars>
      </dgm:prSet>
      <dgm:spPr/>
    </dgm:pt>
    <dgm:pt modelId="{961BDEA7-C30B-4288-B445-67183EB41BBA}" type="pres">
      <dgm:prSet presAssocID="{01D2A54F-33A8-4A02-AD1D-1553F8AC1063}" presName="levelTx" presStyleLbl="revTx" presStyleIdx="0" presStyleCnt="0">
        <dgm:presLayoutVars>
          <dgm:chMax val="1"/>
          <dgm:bulletEnabled val="1"/>
        </dgm:presLayoutVars>
      </dgm:prSet>
      <dgm:spPr/>
    </dgm:pt>
    <dgm:pt modelId="{636809AD-4A70-45DA-B114-4FFF8F64090A}" type="pres">
      <dgm:prSet presAssocID="{DA13AB80-2BB4-48B4-8079-AD06BAC88F74}" presName="Name8" presStyleCnt="0"/>
      <dgm:spPr/>
    </dgm:pt>
    <dgm:pt modelId="{88E92CEF-410A-4229-9DF3-34E4FB8F0E9F}" type="pres">
      <dgm:prSet presAssocID="{DA13AB80-2BB4-48B4-8079-AD06BAC88F74}" presName="level" presStyleLbl="node1" presStyleIdx="2" presStyleCnt="3">
        <dgm:presLayoutVars>
          <dgm:chMax val="1"/>
          <dgm:bulletEnabled val="1"/>
        </dgm:presLayoutVars>
      </dgm:prSet>
      <dgm:spPr/>
    </dgm:pt>
    <dgm:pt modelId="{D369A8B3-F081-411B-8DE3-1BC1B3C09BBC}" type="pres">
      <dgm:prSet presAssocID="{DA13AB80-2BB4-48B4-8079-AD06BAC88F74}" presName="levelTx" presStyleLbl="revTx" presStyleIdx="0" presStyleCnt="0">
        <dgm:presLayoutVars>
          <dgm:chMax val="1"/>
          <dgm:bulletEnabled val="1"/>
        </dgm:presLayoutVars>
      </dgm:prSet>
      <dgm:spPr/>
    </dgm:pt>
  </dgm:ptLst>
  <dgm:cxnLst>
    <dgm:cxn modelId="{2CFE9030-821F-4AAC-8D36-B883282AEBFD}" type="presOf" srcId="{01D2A54F-33A8-4A02-AD1D-1553F8AC1063}" destId="{230BBEA4-2BE2-4BA5-9365-A99A540F3750}" srcOrd="0" destOrd="0" presId="urn:microsoft.com/office/officeart/2005/8/layout/pyramid1"/>
    <dgm:cxn modelId="{521D533C-8025-4364-9DD2-5C04E0AA109A}" type="presOf" srcId="{A07A20EF-AA45-4333-A669-B0E8D2F56772}" destId="{AAC0D9AE-F9EC-49DC-B138-6D6A9E4EF769}" srcOrd="0" destOrd="0" presId="urn:microsoft.com/office/officeart/2005/8/layout/pyramid1"/>
    <dgm:cxn modelId="{E506D467-4C77-45DB-8326-714A4BFF5488}" type="presOf" srcId="{DA13AB80-2BB4-48B4-8079-AD06BAC88F74}" destId="{D369A8B3-F081-411B-8DE3-1BC1B3C09BBC}" srcOrd="1" destOrd="0" presId="urn:microsoft.com/office/officeart/2005/8/layout/pyramid1"/>
    <dgm:cxn modelId="{81B254A2-0AFD-46F8-999D-AD6E51EF3E1A}" type="presOf" srcId="{119B55A2-0EC5-4521-A1B3-32ED3EBD61DC}" destId="{6A3453D0-F490-4A90-AF28-DA247A1F60D2}" srcOrd="1" destOrd="0" presId="urn:microsoft.com/office/officeart/2005/8/layout/pyramid1"/>
    <dgm:cxn modelId="{598AA2BB-2F91-47D9-B809-9B4FDB15588E}" srcId="{A07A20EF-AA45-4333-A669-B0E8D2F56772}" destId="{119B55A2-0EC5-4521-A1B3-32ED3EBD61DC}" srcOrd="0" destOrd="0" parTransId="{04DAEF53-EB6E-48E7-9347-4A8D122D5BC7}" sibTransId="{E7D9BC32-7095-4435-8698-DE0848D58B8D}"/>
    <dgm:cxn modelId="{476337C3-274B-40FE-994D-1032F0E03932}" type="presOf" srcId="{119B55A2-0EC5-4521-A1B3-32ED3EBD61DC}" destId="{5D59FF34-9F6B-4E47-BC81-ED7280DAF031}" srcOrd="0" destOrd="0" presId="urn:microsoft.com/office/officeart/2005/8/layout/pyramid1"/>
    <dgm:cxn modelId="{07A194CB-F24F-4843-8784-AD2887629C57}" type="presOf" srcId="{01D2A54F-33A8-4A02-AD1D-1553F8AC1063}" destId="{961BDEA7-C30B-4288-B445-67183EB41BBA}" srcOrd="1" destOrd="0" presId="urn:microsoft.com/office/officeart/2005/8/layout/pyramid1"/>
    <dgm:cxn modelId="{EA1961D9-5D5B-435D-A414-A78562663072}" srcId="{A07A20EF-AA45-4333-A669-B0E8D2F56772}" destId="{DA13AB80-2BB4-48B4-8079-AD06BAC88F74}" srcOrd="2" destOrd="0" parTransId="{3FCCB308-9D14-437D-89D7-94934A9A49D7}" sibTransId="{A85BC32B-BA54-4914-A50B-BBE388AD358A}"/>
    <dgm:cxn modelId="{A61AA3FC-88F4-4BB0-89D8-558BD5A4877F}" srcId="{A07A20EF-AA45-4333-A669-B0E8D2F56772}" destId="{01D2A54F-33A8-4A02-AD1D-1553F8AC1063}" srcOrd="1" destOrd="0" parTransId="{8995C0E7-3D4E-4A27-BDFD-FD056338D789}" sibTransId="{F6F2B98A-D189-44CB-AD87-5A6B5D8FB047}"/>
    <dgm:cxn modelId="{69831BFD-2FD0-456C-B962-389C8234C401}" type="presOf" srcId="{DA13AB80-2BB4-48B4-8079-AD06BAC88F74}" destId="{88E92CEF-410A-4229-9DF3-34E4FB8F0E9F}" srcOrd="0" destOrd="0" presId="urn:microsoft.com/office/officeart/2005/8/layout/pyramid1"/>
    <dgm:cxn modelId="{140C1342-F680-4017-99FF-9B4EA54A1064}" type="presParOf" srcId="{AAC0D9AE-F9EC-49DC-B138-6D6A9E4EF769}" destId="{21945518-E8E7-46C2-AF1D-54F05CBDF258}" srcOrd="0" destOrd="0" presId="urn:microsoft.com/office/officeart/2005/8/layout/pyramid1"/>
    <dgm:cxn modelId="{99F281ED-C47F-40B3-8B40-D46C2AE7FF55}" type="presParOf" srcId="{21945518-E8E7-46C2-AF1D-54F05CBDF258}" destId="{5D59FF34-9F6B-4E47-BC81-ED7280DAF031}" srcOrd="0" destOrd="0" presId="urn:microsoft.com/office/officeart/2005/8/layout/pyramid1"/>
    <dgm:cxn modelId="{4924F13A-A65C-449A-B8C8-C6C759474C33}" type="presParOf" srcId="{21945518-E8E7-46C2-AF1D-54F05CBDF258}" destId="{6A3453D0-F490-4A90-AF28-DA247A1F60D2}" srcOrd="1" destOrd="0" presId="urn:microsoft.com/office/officeart/2005/8/layout/pyramid1"/>
    <dgm:cxn modelId="{B16A0C36-20FA-4954-A0AE-4ED6B00D4D03}" type="presParOf" srcId="{AAC0D9AE-F9EC-49DC-B138-6D6A9E4EF769}" destId="{AF90D4EC-2558-411D-8C2E-38929BE87C40}" srcOrd="1" destOrd="0" presId="urn:microsoft.com/office/officeart/2005/8/layout/pyramid1"/>
    <dgm:cxn modelId="{E2391D69-3EA1-4C75-8BA9-4C19975082C8}" type="presParOf" srcId="{AF90D4EC-2558-411D-8C2E-38929BE87C40}" destId="{230BBEA4-2BE2-4BA5-9365-A99A540F3750}" srcOrd="0" destOrd="0" presId="urn:microsoft.com/office/officeart/2005/8/layout/pyramid1"/>
    <dgm:cxn modelId="{48609494-A8B8-4341-90B1-22FE0525EDB8}" type="presParOf" srcId="{AF90D4EC-2558-411D-8C2E-38929BE87C40}" destId="{961BDEA7-C30B-4288-B445-67183EB41BBA}" srcOrd="1" destOrd="0" presId="urn:microsoft.com/office/officeart/2005/8/layout/pyramid1"/>
    <dgm:cxn modelId="{89A179DF-1A63-49CE-8653-6063E14FC83F}" type="presParOf" srcId="{AAC0D9AE-F9EC-49DC-B138-6D6A9E4EF769}" destId="{636809AD-4A70-45DA-B114-4FFF8F64090A}" srcOrd="2" destOrd="0" presId="urn:microsoft.com/office/officeart/2005/8/layout/pyramid1"/>
    <dgm:cxn modelId="{58C2E1C7-68A0-4078-A650-9C5667A89752}" type="presParOf" srcId="{636809AD-4A70-45DA-B114-4FFF8F64090A}" destId="{88E92CEF-410A-4229-9DF3-34E4FB8F0E9F}" srcOrd="0" destOrd="0" presId="urn:microsoft.com/office/officeart/2005/8/layout/pyramid1"/>
    <dgm:cxn modelId="{D7055543-73D2-4DD4-9D5E-BB8A2DB6AD02}" type="presParOf" srcId="{636809AD-4A70-45DA-B114-4FFF8F64090A}" destId="{D369A8B3-F081-411B-8DE3-1BC1B3C09BBC}" srcOrd="1" destOrd="0" presId="urn:microsoft.com/office/officeart/2005/8/layout/pyramid1"/>
  </dgm:cxnLst>
  <dgm:bg>
    <a:noFill/>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9FF34-9F6B-4E47-BC81-ED7280DAF031}">
      <dsp:nvSpPr>
        <dsp:cNvPr id="0" name=""/>
        <dsp:cNvSpPr/>
      </dsp:nvSpPr>
      <dsp:spPr>
        <a:xfrm>
          <a:off x="81775" y="0"/>
          <a:ext cx="81775" cy="66907"/>
        </a:xfrm>
        <a:prstGeom prst="trapezoid">
          <a:avLst>
            <a:gd name="adj" fmla="val 61111"/>
          </a:avLst>
        </a:prstGeom>
        <a:solidFill>
          <a:schemeClr val="accent5">
            <a:lumMod val="75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latin typeface="Calibri" pitchFamily="34" charset="0"/>
              <a:cs typeface="Calibri" pitchFamily="34" charset="0"/>
            </a:rPr>
            <a:t>-</a:t>
          </a:r>
        </a:p>
      </dsp:txBody>
      <dsp:txXfrm>
        <a:off x="81775" y="0"/>
        <a:ext cx="81775" cy="66907"/>
      </dsp:txXfrm>
    </dsp:sp>
    <dsp:sp modelId="{230BBEA4-2BE2-4BA5-9365-A99A540F3750}">
      <dsp:nvSpPr>
        <dsp:cNvPr id="0" name=""/>
        <dsp:cNvSpPr/>
      </dsp:nvSpPr>
      <dsp:spPr>
        <a:xfrm>
          <a:off x="40887" y="66907"/>
          <a:ext cx="163550" cy="66907"/>
        </a:xfrm>
        <a:prstGeom prst="trapezoid">
          <a:avLst>
            <a:gd name="adj" fmla="val 61111"/>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latin typeface="Calibri" pitchFamily="34" charset="0"/>
              <a:cs typeface="Calibri" pitchFamily="34" charset="0"/>
            </a:rPr>
            <a:t>-</a:t>
          </a:r>
        </a:p>
      </dsp:txBody>
      <dsp:txXfrm>
        <a:off x="69509" y="66907"/>
        <a:ext cx="106307" cy="66907"/>
      </dsp:txXfrm>
    </dsp:sp>
    <dsp:sp modelId="{88E92CEF-410A-4229-9DF3-34E4FB8F0E9F}">
      <dsp:nvSpPr>
        <dsp:cNvPr id="0" name=""/>
        <dsp:cNvSpPr/>
      </dsp:nvSpPr>
      <dsp:spPr>
        <a:xfrm>
          <a:off x="0" y="133814"/>
          <a:ext cx="245326" cy="66907"/>
        </a:xfrm>
        <a:prstGeom prst="trapezoid">
          <a:avLst>
            <a:gd name="adj" fmla="val 61111"/>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latin typeface="Calibri" pitchFamily="34" charset="0"/>
              <a:cs typeface="Calibri" pitchFamily="34" charset="0"/>
            </a:rPr>
            <a:t>-</a:t>
          </a:r>
        </a:p>
      </dsp:txBody>
      <dsp:txXfrm>
        <a:off x="42932" y="133814"/>
        <a:ext cx="159461" cy="66907"/>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3-22T12:11:58.250"/>
    </inkml:context>
    <inkml:brush xml:id="br0">
      <inkml:brushProperty name="width" value="0.05" units="cm"/>
      <inkml:brushProperty name="height" value="0.05" units="cm"/>
      <inkml:brushProperty name="color" value="#333333"/>
    </inkml:brush>
  </inkml:definitions>
  <inkml:trace contextRef="#ctx0" brushRef="#br0">0 4056 24575,'20'-2'0,"0"-1"0,-1 0 0,1-2 0,-1 0 0,23-10 0,1 0 0,31-12 0,0-4 0,82-48 0,13-5 0,159-70 0,-300 139 0,0-2 0,-1-1 0,30-27 0,4-2 0,9 2 0,-47 31 0,-1-1 0,0 0 0,29-28 0,100-89 0,-99 90 0,80-84 0,-46 36 0,28-33 0,-44 37 0,56-75 0,-5 6 0,-23 30 0,168-252 0,-149 231 0,-77 100 0,51-77 0,-15 13 0,5 2 0,4 5 0,155-146 0,147-92 0,-242 237 0,-55 41 0,-22 13 0,2 4 0,2 3 0,2 2 0,1 5 0,2 2 0,111-32 0,-159 58 0,80-23 0,0 5 0,183-20 0,-133 34 0,250-10 0,-206 20 0,272 6 0,-428 0 0,-1 2 0,74 20 0,91 39 0,-75-22 0,-37-14 0,398 135 0,-470-153 0,-1 2 0,0 1 0,-1 0 0,0 2 0,-1 1 0,31 29 0,243 180 0,-76-64 0,-98-59 0,66 51 0,54 6 0,103 90 0,-306-218 0,45 45 0,-47-40 0,47 33 0,-64-54 0,19 12 0,-2 2 0,55 53 0,28 30 0,-71-69 0,41 35 0,75 72 0,158 164 0,-218-208 0,41 36 0,19-17 0,5 4 0,-145-108 0,0-2 0,2 0 0,39 20 0,99 40 0,-137-66 0,255 85 0,-240-85 0,-5-2 0,23 8 0,74 13 0,218 36 0,-242-52 0,23 5 0,-101-17 0,0-1 0,0-1 0,45-2 0,34 1 0,-11 8 0,-35-1 0,0-4 0,0-2 0,128-12 0,-170 4 0,0 0 0,0-2 0,0-1 0,-1-1 0,0-2 0,-1 0 0,0-1 0,-1-1 0,0-2 0,26-21 0,16-12 0,2 3 0,75-38 0,-17 12 0,5-2 0,-65 38 0,95-67 0,-127 73 0,-2-2 0,0 0 0,-3-2 0,0-1 0,-2-2 0,34-62 0,-36 64 0,1 0 0,36-37 0,-28 35 0,31-47 0,39-60 0,46-72 0,-24 32 0,-36 55 0,17-9 0,-21 30 0,240-321 0,34 28 0,-272 303 0,-57 60 0,51-46 0,15-7 0,-52 45 0,74-55 0,-25 39 0,197-94 0,-216 118 0,-43 24 0,0 2 0,1 1 0,62-11 0,-23 5 0,16-2 0,1 3 0,134-4 0,180 19 0,-175 3 0,-101 4 0,0 5 0,160 37 0,-95-14 0,438 98 0,-415-65 0,-76-22 0,287 97 0,-215-62 0,-73-26 0,385 170 0,-454-194 0,244 140 0,-103-68 0,-149-77 0,-1 3 0,82 52 0,32 47 0,99 65 0,103 71 0,-256-176 0,-55-42 0,-2 3 0,68 69 0,-85-74 0,99 72 0,-90-76 0,72 69 0,-117-97 0,1 0 0,-2 0 0,0 1 0,12 22 0,-14-21 0,2-1 0,0 1 0,0-2 0,18 20 0,15 11 0,-1 2 0,35 49 0,26 29 0,34 32 106,-90-108-841,58 78-1,-96-114-6090</inkml:trace>
</inkml:ink>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BFAD2-9C60-7461-8A7D-9741E76D24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803B5A0-61FF-43CD-F28E-0B8D0E2E204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80DA8640-634E-0DA6-FBF0-1F5AF7B5F002}"/>
              </a:ext>
            </a:extLst>
          </p:cNvPr>
          <p:cNvSpPr>
            <a:spLocks noGrp="1"/>
          </p:cNvSpPr>
          <p:nvPr>
            <p:ph type="dt" sz="half" idx="10"/>
          </p:nvPr>
        </p:nvSpPr>
        <p:spPr/>
        <p:txBody>
          <a:bodyPr/>
          <a:lstStyle/>
          <a:p>
            <a:fld id="{E0E77212-FEB2-4966-BEAF-9AC2950C345D}" type="datetimeFigureOut">
              <a:rPr lang="en-GB" smtClean="0"/>
              <a:t>25/12/2023</a:t>
            </a:fld>
            <a:endParaRPr lang="en-GB"/>
          </a:p>
        </p:txBody>
      </p:sp>
      <p:sp>
        <p:nvSpPr>
          <p:cNvPr id="5" name="Footer Placeholder 4">
            <a:extLst>
              <a:ext uri="{FF2B5EF4-FFF2-40B4-BE49-F238E27FC236}">
                <a16:creationId xmlns:a16="http://schemas.microsoft.com/office/drawing/2014/main" id="{BCD74935-0554-9F81-A3A8-A370ADE8500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B3B24B-6355-1F27-F70B-A101C078E8FC}"/>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42371611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84858B-7176-A8E0-2061-00E21C68BDD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68AEA54-72A1-8858-EA35-30B592E971F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80E5857-71C0-392B-E20C-E9EAFF93CD5A}"/>
              </a:ext>
            </a:extLst>
          </p:cNvPr>
          <p:cNvSpPr>
            <a:spLocks noGrp="1"/>
          </p:cNvSpPr>
          <p:nvPr>
            <p:ph type="dt" sz="half" idx="10"/>
          </p:nvPr>
        </p:nvSpPr>
        <p:spPr/>
        <p:txBody>
          <a:bodyPr/>
          <a:lstStyle/>
          <a:p>
            <a:fld id="{E0E77212-FEB2-4966-BEAF-9AC2950C345D}" type="datetimeFigureOut">
              <a:rPr lang="en-GB" smtClean="0"/>
              <a:t>25/12/2023</a:t>
            </a:fld>
            <a:endParaRPr lang="en-GB"/>
          </a:p>
        </p:txBody>
      </p:sp>
      <p:sp>
        <p:nvSpPr>
          <p:cNvPr id="5" name="Footer Placeholder 4">
            <a:extLst>
              <a:ext uri="{FF2B5EF4-FFF2-40B4-BE49-F238E27FC236}">
                <a16:creationId xmlns:a16="http://schemas.microsoft.com/office/drawing/2014/main" id="{CA0FD85F-6CFF-7B4D-3373-B75A4548B2C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8CE6416-4A0E-42CD-3B3D-47D6205EC460}"/>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12892020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B35A2E-29D7-35CE-BA50-5B38EF3F7D1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F7815F4-217D-46BB-307B-5A01BB7100B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7AA948D-CB53-F230-886B-88203D4E1345}"/>
              </a:ext>
            </a:extLst>
          </p:cNvPr>
          <p:cNvSpPr>
            <a:spLocks noGrp="1"/>
          </p:cNvSpPr>
          <p:nvPr>
            <p:ph type="dt" sz="half" idx="10"/>
          </p:nvPr>
        </p:nvSpPr>
        <p:spPr/>
        <p:txBody>
          <a:bodyPr/>
          <a:lstStyle/>
          <a:p>
            <a:fld id="{E0E77212-FEB2-4966-BEAF-9AC2950C345D}" type="datetimeFigureOut">
              <a:rPr lang="en-GB" smtClean="0"/>
              <a:t>25/12/2023</a:t>
            </a:fld>
            <a:endParaRPr lang="en-GB"/>
          </a:p>
        </p:txBody>
      </p:sp>
      <p:sp>
        <p:nvSpPr>
          <p:cNvPr id="5" name="Footer Placeholder 4">
            <a:extLst>
              <a:ext uri="{FF2B5EF4-FFF2-40B4-BE49-F238E27FC236}">
                <a16:creationId xmlns:a16="http://schemas.microsoft.com/office/drawing/2014/main" id="{15D08879-CD36-BC8C-AC3E-985786477CA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F5D3719-35EA-65D8-EBBF-5C5FF8806020}"/>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30921585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772F1-91F9-47BE-BE62-9932C7EDAB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AAE1A258-9825-4BF7-AE3F-634354E88E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3C4984F-EECA-4680-85F6-1AD033451AB7}"/>
              </a:ext>
            </a:extLst>
          </p:cNvPr>
          <p:cNvSpPr>
            <a:spLocks noGrp="1"/>
          </p:cNvSpPr>
          <p:nvPr>
            <p:ph type="dt" sz="half" idx="10"/>
          </p:nvPr>
        </p:nvSpPr>
        <p:spPr/>
        <p:txBody>
          <a:bodyPr/>
          <a:lstStyle/>
          <a:p>
            <a:fld id="{62B191CE-F718-4C8B-826F-7503487B79B5}" type="datetimeFigureOut">
              <a:rPr lang="en-GB" smtClean="0"/>
              <a:t>25/12/2023</a:t>
            </a:fld>
            <a:endParaRPr lang="en-GB"/>
          </a:p>
        </p:txBody>
      </p:sp>
      <p:sp>
        <p:nvSpPr>
          <p:cNvPr id="5" name="Footer Placeholder 4">
            <a:extLst>
              <a:ext uri="{FF2B5EF4-FFF2-40B4-BE49-F238E27FC236}">
                <a16:creationId xmlns:a16="http://schemas.microsoft.com/office/drawing/2014/main" id="{42A20ACC-52B1-4C2A-8154-937C792E57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89B9807-FDC4-43FE-8933-52AE62E6EABA}"/>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40580968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3198D-B342-4A57-BC01-355712B54F7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D654BEA-7C13-4B8D-8F7F-689DA453F0A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361957B-2108-478F-8426-A51281D25394}"/>
              </a:ext>
            </a:extLst>
          </p:cNvPr>
          <p:cNvSpPr>
            <a:spLocks noGrp="1"/>
          </p:cNvSpPr>
          <p:nvPr>
            <p:ph type="dt" sz="half" idx="10"/>
          </p:nvPr>
        </p:nvSpPr>
        <p:spPr/>
        <p:txBody>
          <a:bodyPr/>
          <a:lstStyle/>
          <a:p>
            <a:fld id="{62B191CE-F718-4C8B-826F-7503487B79B5}" type="datetimeFigureOut">
              <a:rPr lang="en-GB" smtClean="0"/>
              <a:t>25/12/2023</a:t>
            </a:fld>
            <a:endParaRPr lang="en-GB"/>
          </a:p>
        </p:txBody>
      </p:sp>
      <p:sp>
        <p:nvSpPr>
          <p:cNvPr id="5" name="Footer Placeholder 4">
            <a:extLst>
              <a:ext uri="{FF2B5EF4-FFF2-40B4-BE49-F238E27FC236}">
                <a16:creationId xmlns:a16="http://schemas.microsoft.com/office/drawing/2014/main" id="{FAA229A9-B191-4E64-AE41-D9518F7C1E7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0772A32-1386-4CE9-BC67-E4845E31D14A}"/>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5658302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5A6EF-B8CD-4CEC-A7FA-3C95920ECE2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1A2F5DF-47D7-48E9-B7C8-92E9EE6E4A1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D1F5C9D-41EF-4126-A712-DD7D59EB8DF4}"/>
              </a:ext>
            </a:extLst>
          </p:cNvPr>
          <p:cNvSpPr>
            <a:spLocks noGrp="1"/>
          </p:cNvSpPr>
          <p:nvPr>
            <p:ph type="dt" sz="half" idx="10"/>
          </p:nvPr>
        </p:nvSpPr>
        <p:spPr/>
        <p:txBody>
          <a:bodyPr/>
          <a:lstStyle/>
          <a:p>
            <a:fld id="{62B191CE-F718-4C8B-826F-7503487B79B5}" type="datetimeFigureOut">
              <a:rPr lang="en-GB" smtClean="0"/>
              <a:t>25/12/2023</a:t>
            </a:fld>
            <a:endParaRPr lang="en-GB"/>
          </a:p>
        </p:txBody>
      </p:sp>
      <p:sp>
        <p:nvSpPr>
          <p:cNvPr id="5" name="Footer Placeholder 4">
            <a:extLst>
              <a:ext uri="{FF2B5EF4-FFF2-40B4-BE49-F238E27FC236}">
                <a16:creationId xmlns:a16="http://schemas.microsoft.com/office/drawing/2014/main" id="{C31840EB-53D9-4D99-849C-09B40E5584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271E848-98E2-42B0-BD53-7041D6628B4D}"/>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24799499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08AEE-F3A6-4402-A697-2141674B2D9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F693EBA-C25D-4D49-9156-8EABFA7B79C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D7C4EFFB-404C-435B-9377-ABA01CDEF1B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5891854-9445-4CF0-8723-3985CB6E93B9}"/>
              </a:ext>
            </a:extLst>
          </p:cNvPr>
          <p:cNvSpPr>
            <a:spLocks noGrp="1"/>
          </p:cNvSpPr>
          <p:nvPr>
            <p:ph type="dt" sz="half" idx="10"/>
          </p:nvPr>
        </p:nvSpPr>
        <p:spPr/>
        <p:txBody>
          <a:bodyPr/>
          <a:lstStyle/>
          <a:p>
            <a:fld id="{62B191CE-F718-4C8B-826F-7503487B79B5}" type="datetimeFigureOut">
              <a:rPr lang="en-GB" smtClean="0"/>
              <a:t>25/12/2023</a:t>
            </a:fld>
            <a:endParaRPr lang="en-GB"/>
          </a:p>
        </p:txBody>
      </p:sp>
      <p:sp>
        <p:nvSpPr>
          <p:cNvPr id="6" name="Footer Placeholder 5">
            <a:extLst>
              <a:ext uri="{FF2B5EF4-FFF2-40B4-BE49-F238E27FC236}">
                <a16:creationId xmlns:a16="http://schemas.microsoft.com/office/drawing/2014/main" id="{921B6D98-7366-4E0D-99CB-18252387D40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35E835-EB94-4CC8-88F1-134667AE784E}"/>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2123221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C594B-7B60-4B2D-84D2-BD466999341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46D8295-7803-4607-98F7-0F0AFEE70A6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0C00EC-A25E-4229-95C3-9E8E0D6D034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6A09A1C-2CFA-4402-B9BA-CD7604EF0C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A55F030-16B2-43B5-BFB8-9F55F0BBF79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D8AAD52-7586-4345-AB39-1E224FD9DD76}"/>
              </a:ext>
            </a:extLst>
          </p:cNvPr>
          <p:cNvSpPr>
            <a:spLocks noGrp="1"/>
          </p:cNvSpPr>
          <p:nvPr>
            <p:ph type="dt" sz="half" idx="10"/>
          </p:nvPr>
        </p:nvSpPr>
        <p:spPr/>
        <p:txBody>
          <a:bodyPr/>
          <a:lstStyle/>
          <a:p>
            <a:fld id="{62B191CE-F718-4C8B-826F-7503487B79B5}" type="datetimeFigureOut">
              <a:rPr lang="en-GB" smtClean="0"/>
              <a:t>25/12/2023</a:t>
            </a:fld>
            <a:endParaRPr lang="en-GB"/>
          </a:p>
        </p:txBody>
      </p:sp>
      <p:sp>
        <p:nvSpPr>
          <p:cNvPr id="8" name="Footer Placeholder 7">
            <a:extLst>
              <a:ext uri="{FF2B5EF4-FFF2-40B4-BE49-F238E27FC236}">
                <a16:creationId xmlns:a16="http://schemas.microsoft.com/office/drawing/2014/main" id="{9A8CA7D0-F516-4150-A43C-3AB136D6E2C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3DAC61BC-8EC2-4323-9D13-2D2FEFDAF053}"/>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31695792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7A0362-B425-4507-B3B1-945B289F7DE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EFAF93F-A1CD-40C2-B54B-61760D101071}"/>
              </a:ext>
            </a:extLst>
          </p:cNvPr>
          <p:cNvSpPr>
            <a:spLocks noGrp="1"/>
          </p:cNvSpPr>
          <p:nvPr>
            <p:ph type="dt" sz="half" idx="10"/>
          </p:nvPr>
        </p:nvSpPr>
        <p:spPr/>
        <p:txBody>
          <a:bodyPr/>
          <a:lstStyle/>
          <a:p>
            <a:fld id="{62B191CE-F718-4C8B-826F-7503487B79B5}" type="datetimeFigureOut">
              <a:rPr lang="en-GB" smtClean="0"/>
              <a:t>25/12/2023</a:t>
            </a:fld>
            <a:endParaRPr lang="en-GB"/>
          </a:p>
        </p:txBody>
      </p:sp>
      <p:sp>
        <p:nvSpPr>
          <p:cNvPr id="4" name="Footer Placeholder 3">
            <a:extLst>
              <a:ext uri="{FF2B5EF4-FFF2-40B4-BE49-F238E27FC236}">
                <a16:creationId xmlns:a16="http://schemas.microsoft.com/office/drawing/2014/main" id="{111A2C0D-99D4-4CBA-8E36-5BD4DDD0777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6412652-78A4-422F-9C02-35CBDB7CCD7B}"/>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37846593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F59443F-A9D8-45EA-A1E8-3B4895EAAA31}"/>
              </a:ext>
            </a:extLst>
          </p:cNvPr>
          <p:cNvSpPr>
            <a:spLocks noGrp="1"/>
          </p:cNvSpPr>
          <p:nvPr>
            <p:ph type="dt" sz="half" idx="10"/>
          </p:nvPr>
        </p:nvSpPr>
        <p:spPr/>
        <p:txBody>
          <a:bodyPr/>
          <a:lstStyle/>
          <a:p>
            <a:fld id="{62B191CE-F718-4C8B-826F-7503487B79B5}" type="datetimeFigureOut">
              <a:rPr lang="en-GB" smtClean="0"/>
              <a:t>25/12/2023</a:t>
            </a:fld>
            <a:endParaRPr lang="en-GB"/>
          </a:p>
        </p:txBody>
      </p:sp>
      <p:sp>
        <p:nvSpPr>
          <p:cNvPr id="3" name="Footer Placeholder 2">
            <a:extLst>
              <a:ext uri="{FF2B5EF4-FFF2-40B4-BE49-F238E27FC236}">
                <a16:creationId xmlns:a16="http://schemas.microsoft.com/office/drawing/2014/main" id="{122FC274-2545-4BB3-BE98-686FBB8C7CA1}"/>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E13A31-05E4-49B4-8811-EFB3BD4D81E0}"/>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4015451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6C450-CB74-4117-AAFB-CDC2AD869E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292F32C-E25F-49F4-B4B2-DDCF8525E4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CFCDF45-A77F-4376-8616-08EB08CFE8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BE6349-3443-4F8E-A8B4-2DD1012D03E4}"/>
              </a:ext>
            </a:extLst>
          </p:cNvPr>
          <p:cNvSpPr>
            <a:spLocks noGrp="1"/>
          </p:cNvSpPr>
          <p:nvPr>
            <p:ph type="dt" sz="half" idx="10"/>
          </p:nvPr>
        </p:nvSpPr>
        <p:spPr/>
        <p:txBody>
          <a:bodyPr/>
          <a:lstStyle/>
          <a:p>
            <a:fld id="{62B191CE-F718-4C8B-826F-7503487B79B5}" type="datetimeFigureOut">
              <a:rPr lang="en-GB" smtClean="0"/>
              <a:t>25/12/2023</a:t>
            </a:fld>
            <a:endParaRPr lang="en-GB"/>
          </a:p>
        </p:txBody>
      </p:sp>
      <p:sp>
        <p:nvSpPr>
          <p:cNvPr id="6" name="Footer Placeholder 5">
            <a:extLst>
              <a:ext uri="{FF2B5EF4-FFF2-40B4-BE49-F238E27FC236}">
                <a16:creationId xmlns:a16="http://schemas.microsoft.com/office/drawing/2014/main" id="{00A542AB-2AA8-42AB-913E-87C384C7702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2CBDC99-C896-4E2F-83A5-6AB5C81F0D06}"/>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35236994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78C1C-21B2-9838-2E61-1B1E0671692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473C731-350A-1FD3-2AB8-5B6971BA231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536F4A4-826B-4764-C964-909B4FFE46CC}"/>
              </a:ext>
            </a:extLst>
          </p:cNvPr>
          <p:cNvSpPr>
            <a:spLocks noGrp="1"/>
          </p:cNvSpPr>
          <p:nvPr>
            <p:ph type="dt" sz="half" idx="10"/>
          </p:nvPr>
        </p:nvSpPr>
        <p:spPr/>
        <p:txBody>
          <a:bodyPr/>
          <a:lstStyle/>
          <a:p>
            <a:fld id="{E0E77212-FEB2-4966-BEAF-9AC2950C345D}" type="datetimeFigureOut">
              <a:rPr lang="en-GB" smtClean="0"/>
              <a:t>25/12/2023</a:t>
            </a:fld>
            <a:endParaRPr lang="en-GB"/>
          </a:p>
        </p:txBody>
      </p:sp>
      <p:sp>
        <p:nvSpPr>
          <p:cNvPr id="5" name="Footer Placeholder 4">
            <a:extLst>
              <a:ext uri="{FF2B5EF4-FFF2-40B4-BE49-F238E27FC236}">
                <a16:creationId xmlns:a16="http://schemas.microsoft.com/office/drawing/2014/main" id="{351E5BCE-0ECA-BF20-A0CB-24085268C3C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F88EE2E-63E5-023D-52D2-453861F570AA}"/>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30622066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D943C-766B-4D0B-81E0-10A5723A3B5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3B8F62CD-E011-4762-A40B-BF59067FDFB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CB363FEC-5F1C-496B-AD9B-7BFB62113D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39673CA-2F0D-4053-A3FF-AEEB00F1D131}"/>
              </a:ext>
            </a:extLst>
          </p:cNvPr>
          <p:cNvSpPr>
            <a:spLocks noGrp="1"/>
          </p:cNvSpPr>
          <p:nvPr>
            <p:ph type="dt" sz="half" idx="10"/>
          </p:nvPr>
        </p:nvSpPr>
        <p:spPr/>
        <p:txBody>
          <a:bodyPr/>
          <a:lstStyle/>
          <a:p>
            <a:fld id="{62B191CE-F718-4C8B-826F-7503487B79B5}" type="datetimeFigureOut">
              <a:rPr lang="en-GB" smtClean="0"/>
              <a:t>25/12/2023</a:t>
            </a:fld>
            <a:endParaRPr lang="en-GB"/>
          </a:p>
        </p:txBody>
      </p:sp>
      <p:sp>
        <p:nvSpPr>
          <p:cNvPr id="6" name="Footer Placeholder 5">
            <a:extLst>
              <a:ext uri="{FF2B5EF4-FFF2-40B4-BE49-F238E27FC236}">
                <a16:creationId xmlns:a16="http://schemas.microsoft.com/office/drawing/2014/main" id="{11836866-99BB-46DF-B251-2AD788E21A1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96D475A-74E0-4F40-A52A-4AF610252D0C}"/>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32757197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C5A57-2FE2-4991-B938-C61DE37AA9D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5EC96A2-0605-43C7-9149-43244A692E3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2A20C05-12F3-4A00-8407-B56ED15724FD}"/>
              </a:ext>
            </a:extLst>
          </p:cNvPr>
          <p:cNvSpPr>
            <a:spLocks noGrp="1"/>
          </p:cNvSpPr>
          <p:nvPr>
            <p:ph type="dt" sz="half" idx="10"/>
          </p:nvPr>
        </p:nvSpPr>
        <p:spPr/>
        <p:txBody>
          <a:bodyPr/>
          <a:lstStyle/>
          <a:p>
            <a:fld id="{62B191CE-F718-4C8B-826F-7503487B79B5}" type="datetimeFigureOut">
              <a:rPr lang="en-GB" smtClean="0"/>
              <a:t>25/12/2023</a:t>
            </a:fld>
            <a:endParaRPr lang="en-GB"/>
          </a:p>
        </p:txBody>
      </p:sp>
      <p:sp>
        <p:nvSpPr>
          <p:cNvPr id="5" name="Footer Placeholder 4">
            <a:extLst>
              <a:ext uri="{FF2B5EF4-FFF2-40B4-BE49-F238E27FC236}">
                <a16:creationId xmlns:a16="http://schemas.microsoft.com/office/drawing/2014/main" id="{302BEFF2-2E42-4AE4-8519-48D604D9E97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0FA6CA4-3A14-458A-943C-248877BE59C2}"/>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2282834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A0D4D4A-A42A-48B4-A85C-611DB9A8A77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FFAB590-7FE7-4F2D-9C77-46B6E376669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E6D0A2A-322F-4FB2-A6E1-745F356FE28D}"/>
              </a:ext>
            </a:extLst>
          </p:cNvPr>
          <p:cNvSpPr>
            <a:spLocks noGrp="1"/>
          </p:cNvSpPr>
          <p:nvPr>
            <p:ph type="dt" sz="half" idx="10"/>
          </p:nvPr>
        </p:nvSpPr>
        <p:spPr/>
        <p:txBody>
          <a:bodyPr/>
          <a:lstStyle/>
          <a:p>
            <a:fld id="{62B191CE-F718-4C8B-826F-7503487B79B5}" type="datetimeFigureOut">
              <a:rPr lang="en-GB" smtClean="0"/>
              <a:t>25/12/2023</a:t>
            </a:fld>
            <a:endParaRPr lang="en-GB"/>
          </a:p>
        </p:txBody>
      </p:sp>
      <p:sp>
        <p:nvSpPr>
          <p:cNvPr id="5" name="Footer Placeholder 4">
            <a:extLst>
              <a:ext uri="{FF2B5EF4-FFF2-40B4-BE49-F238E27FC236}">
                <a16:creationId xmlns:a16="http://schemas.microsoft.com/office/drawing/2014/main" id="{589E2E7E-F684-427C-85DD-485F610DD79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0BF3AAD-C670-47BF-86BB-05FC7A1D71E3}"/>
              </a:ext>
            </a:extLst>
          </p:cNvPr>
          <p:cNvSpPr>
            <a:spLocks noGrp="1"/>
          </p:cNvSpPr>
          <p:nvPr>
            <p:ph type="sldNum" sz="quarter" idx="12"/>
          </p:nvPr>
        </p:nvSpPr>
        <p:spPr/>
        <p:txBody>
          <a:bodyPr/>
          <a:lstStyle/>
          <a:p>
            <a:fld id="{E88750C2-3E67-4349-BB2B-733FE64E9501}" type="slidenum">
              <a:rPr lang="en-GB" smtClean="0"/>
              <a:t>‹#›</a:t>
            </a:fld>
            <a:endParaRPr lang="en-GB"/>
          </a:p>
        </p:txBody>
      </p:sp>
    </p:spTree>
    <p:extLst>
      <p:ext uri="{BB962C8B-B14F-4D97-AF65-F5344CB8AC3E}">
        <p14:creationId xmlns:p14="http://schemas.microsoft.com/office/powerpoint/2010/main" val="15733240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304CD-B429-E2C0-6A28-FDDC976B2CB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3FDF83B-7BF7-FC24-8F3A-4C7DC9CED4F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A95041C-6E53-CB65-1A88-50ACDFC295A7}"/>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C04B4E60-C60D-7D45-DD96-B02BC686288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CD0E670-E45C-8020-01DD-4882A571FDD3}"/>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35168348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2C06C4-AEA3-B0F4-BA58-BCF7AAE4FD5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C1279A6-A885-D98A-D665-2AAC650069C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FE1A12D-55BD-4545-E717-2ADD3422B11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A4EFEBC-E522-807B-DEC0-79B7F79CCB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DD39F1-7665-3FF5-F783-6F139F03283C}"/>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15178077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083E4-B550-98AF-C188-C8A4A5177D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95027052-69EC-A2CE-B724-7A88900C35E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42F6277-7BCA-FAD4-A91B-8EA3E77BD802}"/>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D8366272-8181-1CD9-76CA-F9199842CED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D6B9B51-1CDE-C549-0B3F-248A43E6859C}"/>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21154750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B9046-53B3-F355-2EB9-DDA0ABBAB89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7D2B59F-B088-344E-546C-07F12C37928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BB507E5-7647-609E-3FFC-8A3517C6882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9E73A6A-8819-A2A2-BF01-29B37B8DF45E}"/>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F587B264-D165-DDB0-71DF-6ADE19B805E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C5B0604-DECF-9F43-31F8-3BC4B4639336}"/>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14317825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FEB59-73AA-3638-A6EE-DDDDE0020703}"/>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8541295-B968-DF40-7AA2-E87EDC0CE16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82A53-852C-AF62-BDD2-09AB4B9F9AD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CCFE7C6-0DE7-415B-8A50-3DE541FA9C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A08A862-3A30-C914-0AA9-F2B72442594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86D94-FDA2-6F0F-F2A8-F328DB55864E}"/>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E6F6C325-F66D-342B-9B91-35393553A4B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17774F6-F720-2FE9-5042-793B1FDE1D79}"/>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855411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B5C35-8266-96B7-E6FC-368E7D370D9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1895730-C019-27C5-F8D0-D46FC0BDD83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F4FF9C9B-BA50-9E4B-14F7-426BC23B6C8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847B021A-6ABA-6261-15E7-310A7E43BD21}"/>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26009616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FD4C47-9E03-29F1-3062-703FAFDEB006}"/>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E3D1530B-D35D-1BE2-9751-93A83C20BB4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48E781D-AAE5-B89E-7451-03D4417EF1DD}"/>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2400963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6EE781-E817-E1B0-9FDD-120D5F5B0A3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415A09F-BC36-D410-D214-17C402D8726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F3B2431-9B1C-71DD-EFFA-C01B05A99BD3}"/>
              </a:ext>
            </a:extLst>
          </p:cNvPr>
          <p:cNvSpPr>
            <a:spLocks noGrp="1"/>
          </p:cNvSpPr>
          <p:nvPr>
            <p:ph type="dt" sz="half" idx="10"/>
          </p:nvPr>
        </p:nvSpPr>
        <p:spPr/>
        <p:txBody>
          <a:bodyPr/>
          <a:lstStyle/>
          <a:p>
            <a:fld id="{E0E77212-FEB2-4966-BEAF-9AC2950C345D}" type="datetimeFigureOut">
              <a:rPr lang="en-GB" smtClean="0"/>
              <a:t>25/12/2023</a:t>
            </a:fld>
            <a:endParaRPr lang="en-GB"/>
          </a:p>
        </p:txBody>
      </p:sp>
      <p:sp>
        <p:nvSpPr>
          <p:cNvPr id="5" name="Footer Placeholder 4">
            <a:extLst>
              <a:ext uri="{FF2B5EF4-FFF2-40B4-BE49-F238E27FC236}">
                <a16:creationId xmlns:a16="http://schemas.microsoft.com/office/drawing/2014/main" id="{4CD5E2C0-6AFC-D87E-79BC-6B8CD676E24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921D8AE-90DF-EB6B-9B9C-68BF64B49472}"/>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4033019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BFB5F-AD53-D62D-77CF-79E4E94C1E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873A7A8-BD41-9839-E442-50839B727AD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ACFCC57-E33C-96B6-D4B9-4F61945846C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1F7E8E-CB13-A409-7AB1-97E9072B0869}"/>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FC184A0B-3D8A-EC4F-18AC-194C5B93D80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5855657-A14C-5094-3C12-6C107FDB2FC1}"/>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18551808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FE171A-A5A9-AFCB-4601-6B569E97C1E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69E3C936-C613-6D3E-C468-DE876FB631E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3016250-F572-107B-6B11-AD0C633443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C94C066-E889-8BF9-F6DC-DE33A1CC687C}"/>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E0799EB0-A4A0-2B26-AD54-23518084BDA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15CC988-155B-A8D2-8CCA-EB0689A24A58}"/>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3467484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71970-EA7A-D7C9-D0CB-B91183E07E25}"/>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FE96AB2-4822-5BA2-50B0-FBDC8A0DEC5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9514F69-B8B1-11CB-5AEE-267EFC1BE1B5}"/>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F0C3DFC1-CE82-70BC-DDB3-FD5E36753E8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8EAB27A-7E59-99D1-3BAC-2D120A07AF72}"/>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917535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950D27A-9A2F-B3A1-6466-0D3803B20F2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FBA6846-B3AE-3DFE-BCC1-D8B658DFA8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B956137-D025-285D-7DB1-2C85428D112E}"/>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7DB8B149-FA84-C6F9-D703-F7F28E130FB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1030140-E1CC-CD7C-CFBF-B1C02DDA7CBC}"/>
              </a:ext>
            </a:extLst>
          </p:cNvPr>
          <p:cNvSpPr>
            <a:spLocks noGrp="1"/>
          </p:cNvSpPr>
          <p:nvPr>
            <p:ph type="sldNum" sz="quarter" idx="12"/>
          </p:nvPr>
        </p:nvSpPr>
        <p:spPr/>
        <p:txBody>
          <a:bodyPr/>
          <a:lstStyle/>
          <a:p>
            <a:fld id="{3F72325A-DC7E-4C04-B741-F2133948C1C0}" type="slidenum">
              <a:rPr lang="en-GB" smtClean="0"/>
              <a:t>‹#›</a:t>
            </a:fld>
            <a:endParaRPr lang="en-GB"/>
          </a:p>
        </p:txBody>
      </p:sp>
    </p:spTree>
    <p:extLst>
      <p:ext uri="{BB962C8B-B14F-4D97-AF65-F5344CB8AC3E}">
        <p14:creationId xmlns:p14="http://schemas.microsoft.com/office/powerpoint/2010/main" val="34458260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92609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A94D579B-3C01-4188-BC9A-FF71DCE709C8}" type="datetime1">
              <a:rPr lang="en-GB" smtClean="0"/>
              <a:t>25/12/2023</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upskilPRO.com</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
        <p:nvSpPr>
          <p:cNvPr id="5" name="Title 4">
            <a:extLst>
              <a:ext uri="{FF2B5EF4-FFF2-40B4-BE49-F238E27FC236}">
                <a16:creationId xmlns:a16="http://schemas.microsoft.com/office/drawing/2014/main" id="{8441F8CE-FA45-4203-92AB-40694511E1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073473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1046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83856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777FB066-C497-3447-AFBC-355A0B2950FD}"/>
              </a:ext>
            </a:extLst>
          </p:cNvPr>
          <p:cNvSpPr>
            <a:spLocks noGrp="1"/>
          </p:cNvSpPr>
          <p:nvPr>
            <p:ph type="pic" sz="quarter" idx="10"/>
          </p:nvPr>
        </p:nvSpPr>
        <p:spPr>
          <a:xfrm>
            <a:off x="891614" y="1773238"/>
            <a:ext cx="1078987" cy="1078707"/>
          </a:xfr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2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lgn="ctr" defTabSz="914217"/>
            <a:endParaRPr lang="en-US" dirty="0"/>
          </a:p>
        </p:txBody>
      </p:sp>
      <p:sp>
        <p:nvSpPr>
          <p:cNvPr id="16" name="Picture Placeholder 14">
            <a:extLst>
              <a:ext uri="{FF2B5EF4-FFF2-40B4-BE49-F238E27FC236}">
                <a16:creationId xmlns:a16="http://schemas.microsoft.com/office/drawing/2014/main" id="{E8691FDF-DF05-0244-9389-84535F62087E}"/>
              </a:ext>
            </a:extLst>
          </p:cNvPr>
          <p:cNvSpPr>
            <a:spLocks noGrp="1"/>
          </p:cNvSpPr>
          <p:nvPr>
            <p:ph type="pic" sz="quarter" idx="11"/>
          </p:nvPr>
        </p:nvSpPr>
        <p:spPr>
          <a:xfrm>
            <a:off x="3568363" y="1773238"/>
            <a:ext cx="1078987" cy="1078707"/>
          </a:xfr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2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lgn="ctr" defTabSz="914217"/>
            <a:endParaRPr lang="en-US" dirty="0"/>
          </a:p>
        </p:txBody>
      </p:sp>
      <p:sp>
        <p:nvSpPr>
          <p:cNvPr id="17" name="Picture Placeholder 14">
            <a:extLst>
              <a:ext uri="{FF2B5EF4-FFF2-40B4-BE49-F238E27FC236}">
                <a16:creationId xmlns:a16="http://schemas.microsoft.com/office/drawing/2014/main" id="{0228ACD1-B509-8246-98F4-2E2EAFBB2332}"/>
              </a:ext>
            </a:extLst>
          </p:cNvPr>
          <p:cNvSpPr>
            <a:spLocks noGrp="1"/>
          </p:cNvSpPr>
          <p:nvPr>
            <p:ph type="pic" sz="quarter" idx="12"/>
          </p:nvPr>
        </p:nvSpPr>
        <p:spPr>
          <a:xfrm>
            <a:off x="6245108" y="1773238"/>
            <a:ext cx="1078987" cy="1078707"/>
          </a:xfr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2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lgn="ctr" defTabSz="914217"/>
            <a:endParaRPr lang="en-US" dirty="0"/>
          </a:p>
        </p:txBody>
      </p:sp>
      <p:sp>
        <p:nvSpPr>
          <p:cNvPr id="18" name="Picture Placeholder 14">
            <a:extLst>
              <a:ext uri="{FF2B5EF4-FFF2-40B4-BE49-F238E27FC236}">
                <a16:creationId xmlns:a16="http://schemas.microsoft.com/office/drawing/2014/main" id="{B2EA797C-D871-6640-B9E3-1714389672BA}"/>
              </a:ext>
            </a:extLst>
          </p:cNvPr>
          <p:cNvSpPr>
            <a:spLocks noGrp="1"/>
          </p:cNvSpPr>
          <p:nvPr>
            <p:ph type="pic" sz="quarter" idx="13"/>
          </p:nvPr>
        </p:nvSpPr>
        <p:spPr>
          <a:xfrm>
            <a:off x="8905809" y="1773238"/>
            <a:ext cx="1078987" cy="1078707"/>
          </a:xfr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2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lgn="ctr" defTabSz="914217"/>
            <a:endParaRPr lang="en-US" dirty="0"/>
          </a:p>
        </p:txBody>
      </p:sp>
      <p:sp>
        <p:nvSpPr>
          <p:cNvPr id="19" name="Picture Placeholder 14">
            <a:extLst>
              <a:ext uri="{FF2B5EF4-FFF2-40B4-BE49-F238E27FC236}">
                <a16:creationId xmlns:a16="http://schemas.microsoft.com/office/drawing/2014/main" id="{64D4B74A-6E38-6A49-BD5E-8E78B96F4656}"/>
              </a:ext>
            </a:extLst>
          </p:cNvPr>
          <p:cNvSpPr>
            <a:spLocks noGrp="1"/>
          </p:cNvSpPr>
          <p:nvPr>
            <p:ph type="pic" sz="quarter" idx="14"/>
          </p:nvPr>
        </p:nvSpPr>
        <p:spPr>
          <a:xfrm>
            <a:off x="1074793" y="3429000"/>
            <a:ext cx="708845" cy="708661"/>
          </a:xfr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2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lgn="ctr" defTabSz="914217"/>
            <a:endParaRPr lang="en-US" dirty="0"/>
          </a:p>
        </p:txBody>
      </p:sp>
      <p:sp>
        <p:nvSpPr>
          <p:cNvPr id="20" name="Picture Placeholder 14">
            <a:extLst>
              <a:ext uri="{FF2B5EF4-FFF2-40B4-BE49-F238E27FC236}">
                <a16:creationId xmlns:a16="http://schemas.microsoft.com/office/drawing/2014/main" id="{16A09D8D-A7BA-104A-9BE1-074748E80DBA}"/>
              </a:ext>
            </a:extLst>
          </p:cNvPr>
          <p:cNvSpPr>
            <a:spLocks noGrp="1"/>
          </p:cNvSpPr>
          <p:nvPr>
            <p:ph type="pic" sz="quarter" idx="15"/>
          </p:nvPr>
        </p:nvSpPr>
        <p:spPr>
          <a:xfrm>
            <a:off x="1074793" y="4703312"/>
            <a:ext cx="708845" cy="708661"/>
          </a:xfr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2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lgn="ctr" defTabSz="914217"/>
            <a:endParaRPr lang="en-US" dirty="0"/>
          </a:p>
        </p:txBody>
      </p:sp>
      <p:sp>
        <p:nvSpPr>
          <p:cNvPr id="21" name="Picture Placeholder 14">
            <a:extLst>
              <a:ext uri="{FF2B5EF4-FFF2-40B4-BE49-F238E27FC236}">
                <a16:creationId xmlns:a16="http://schemas.microsoft.com/office/drawing/2014/main" id="{0B0F68C6-12B4-4546-B3A5-36451D33CF2E}"/>
              </a:ext>
            </a:extLst>
          </p:cNvPr>
          <p:cNvSpPr>
            <a:spLocks noGrp="1"/>
          </p:cNvSpPr>
          <p:nvPr>
            <p:ph type="pic" sz="quarter" idx="16"/>
          </p:nvPr>
        </p:nvSpPr>
        <p:spPr>
          <a:xfrm>
            <a:off x="3751788" y="3429000"/>
            <a:ext cx="708845" cy="708661"/>
          </a:xfr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2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lgn="ctr" defTabSz="914217"/>
            <a:endParaRPr lang="en-US" dirty="0"/>
          </a:p>
        </p:txBody>
      </p:sp>
      <p:sp>
        <p:nvSpPr>
          <p:cNvPr id="22" name="Picture Placeholder 14">
            <a:extLst>
              <a:ext uri="{FF2B5EF4-FFF2-40B4-BE49-F238E27FC236}">
                <a16:creationId xmlns:a16="http://schemas.microsoft.com/office/drawing/2014/main" id="{0C9DE70E-897C-154C-9827-196F1ED27C94}"/>
              </a:ext>
            </a:extLst>
          </p:cNvPr>
          <p:cNvSpPr>
            <a:spLocks noGrp="1"/>
          </p:cNvSpPr>
          <p:nvPr>
            <p:ph type="pic" sz="quarter" idx="17"/>
          </p:nvPr>
        </p:nvSpPr>
        <p:spPr>
          <a:xfrm>
            <a:off x="3751788" y="4703312"/>
            <a:ext cx="708845" cy="708661"/>
          </a:xfr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2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lgn="ctr" defTabSz="914217"/>
            <a:endParaRPr lang="en-US" dirty="0"/>
          </a:p>
        </p:txBody>
      </p:sp>
      <p:sp>
        <p:nvSpPr>
          <p:cNvPr id="23" name="Picture Placeholder 14">
            <a:extLst>
              <a:ext uri="{FF2B5EF4-FFF2-40B4-BE49-F238E27FC236}">
                <a16:creationId xmlns:a16="http://schemas.microsoft.com/office/drawing/2014/main" id="{7924C9AA-3FB8-C748-9EF0-11EF66BD8BFA}"/>
              </a:ext>
            </a:extLst>
          </p:cNvPr>
          <p:cNvSpPr>
            <a:spLocks noGrp="1"/>
          </p:cNvSpPr>
          <p:nvPr>
            <p:ph type="pic" sz="quarter" idx="18"/>
          </p:nvPr>
        </p:nvSpPr>
        <p:spPr>
          <a:xfrm>
            <a:off x="6420513" y="3429000"/>
            <a:ext cx="708845" cy="708661"/>
          </a:xfr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2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lgn="ctr" defTabSz="914217"/>
            <a:endParaRPr lang="en-US" dirty="0"/>
          </a:p>
        </p:txBody>
      </p:sp>
      <p:sp>
        <p:nvSpPr>
          <p:cNvPr id="24" name="Picture Placeholder 14">
            <a:extLst>
              <a:ext uri="{FF2B5EF4-FFF2-40B4-BE49-F238E27FC236}">
                <a16:creationId xmlns:a16="http://schemas.microsoft.com/office/drawing/2014/main" id="{0EB6B7DF-AE3F-6A41-8BF0-00084486263F}"/>
              </a:ext>
            </a:extLst>
          </p:cNvPr>
          <p:cNvSpPr>
            <a:spLocks noGrp="1"/>
          </p:cNvSpPr>
          <p:nvPr>
            <p:ph type="pic" sz="quarter" idx="19"/>
          </p:nvPr>
        </p:nvSpPr>
        <p:spPr>
          <a:xfrm>
            <a:off x="6420513" y="4703312"/>
            <a:ext cx="708845" cy="708661"/>
          </a:xfr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2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lgn="ctr" defTabSz="914217"/>
            <a:endParaRPr lang="en-US" dirty="0"/>
          </a:p>
        </p:txBody>
      </p:sp>
      <p:sp>
        <p:nvSpPr>
          <p:cNvPr id="25" name="Picture Placeholder 14">
            <a:extLst>
              <a:ext uri="{FF2B5EF4-FFF2-40B4-BE49-F238E27FC236}">
                <a16:creationId xmlns:a16="http://schemas.microsoft.com/office/drawing/2014/main" id="{6EB9483B-E659-FC43-B20A-43E4143BFA02}"/>
              </a:ext>
            </a:extLst>
          </p:cNvPr>
          <p:cNvSpPr>
            <a:spLocks noGrp="1"/>
          </p:cNvSpPr>
          <p:nvPr>
            <p:ph type="pic" sz="quarter" idx="20"/>
          </p:nvPr>
        </p:nvSpPr>
        <p:spPr>
          <a:xfrm>
            <a:off x="9089239" y="3429000"/>
            <a:ext cx="708845" cy="708661"/>
          </a:xfr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2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lgn="ctr" defTabSz="914217"/>
            <a:endParaRPr lang="en-US" dirty="0"/>
          </a:p>
        </p:txBody>
      </p:sp>
      <p:sp>
        <p:nvSpPr>
          <p:cNvPr id="26" name="Picture Placeholder 14">
            <a:extLst>
              <a:ext uri="{FF2B5EF4-FFF2-40B4-BE49-F238E27FC236}">
                <a16:creationId xmlns:a16="http://schemas.microsoft.com/office/drawing/2014/main" id="{437E2DCB-0482-A244-851A-4226926BBD32}"/>
              </a:ext>
            </a:extLst>
          </p:cNvPr>
          <p:cNvSpPr>
            <a:spLocks noGrp="1"/>
          </p:cNvSpPr>
          <p:nvPr>
            <p:ph type="pic" sz="quarter" idx="21"/>
          </p:nvPr>
        </p:nvSpPr>
        <p:spPr>
          <a:xfrm>
            <a:off x="9089239" y="4703312"/>
            <a:ext cx="708845" cy="708661"/>
          </a:xfr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200" b="0" i="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stStyle>
          <a:p>
            <a:pPr lvl="0" algn="ctr" defTabSz="914217"/>
            <a:endParaRPr lang="en-US" dirty="0"/>
          </a:p>
        </p:txBody>
      </p:sp>
    </p:spTree>
    <p:extLst>
      <p:ext uri="{BB962C8B-B14F-4D97-AF65-F5344CB8AC3E}">
        <p14:creationId xmlns:p14="http://schemas.microsoft.com/office/powerpoint/2010/main" val="350133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7_Custom Layout">
    <p:spTree>
      <p:nvGrpSpPr>
        <p:cNvPr id="1" name=""/>
        <p:cNvGrpSpPr/>
        <p:nvPr/>
      </p:nvGrpSpPr>
      <p:grpSpPr>
        <a:xfrm>
          <a:off x="0" y="0"/>
          <a:ext cx="0" cy="0"/>
          <a:chOff x="0" y="0"/>
          <a:chExt cx="0" cy="0"/>
        </a:xfrm>
      </p:grpSpPr>
      <p:sp>
        <p:nvSpPr>
          <p:cNvPr id="25" name="Picture Placeholder 24"/>
          <p:cNvSpPr>
            <a:spLocks noGrp="1"/>
          </p:cNvSpPr>
          <p:nvPr>
            <p:ph type="pic" sz="quarter" idx="10"/>
          </p:nvPr>
        </p:nvSpPr>
        <p:spPr>
          <a:xfrm>
            <a:off x="2856123" y="3083170"/>
            <a:ext cx="1125628" cy="1148275"/>
          </a:xfrm>
          <a:custGeom>
            <a:avLst/>
            <a:gdLst>
              <a:gd name="connsiteX0" fmla="*/ 0 w 962789"/>
              <a:gd name="connsiteY0" fmla="*/ 0 h 982160"/>
              <a:gd name="connsiteX1" fmla="*/ 962789 w 962789"/>
              <a:gd name="connsiteY1" fmla="*/ 0 h 982160"/>
              <a:gd name="connsiteX2" fmla="*/ 962789 w 962789"/>
              <a:gd name="connsiteY2" fmla="*/ 982160 h 982160"/>
              <a:gd name="connsiteX3" fmla="*/ 0 w 962789"/>
              <a:gd name="connsiteY3" fmla="*/ 982160 h 982160"/>
            </a:gdLst>
            <a:ahLst/>
            <a:cxnLst>
              <a:cxn ang="0">
                <a:pos x="connsiteX0" y="connsiteY0"/>
              </a:cxn>
              <a:cxn ang="0">
                <a:pos x="connsiteX1" y="connsiteY1"/>
              </a:cxn>
              <a:cxn ang="0">
                <a:pos x="connsiteX2" y="connsiteY2"/>
              </a:cxn>
              <a:cxn ang="0">
                <a:pos x="connsiteX3" y="connsiteY3"/>
              </a:cxn>
            </a:cxnLst>
            <a:rect l="l" t="t" r="r" b="b"/>
            <a:pathLst>
              <a:path w="962789" h="982160">
                <a:moveTo>
                  <a:pt x="0" y="0"/>
                </a:moveTo>
                <a:lnTo>
                  <a:pt x="962789" y="0"/>
                </a:lnTo>
                <a:lnTo>
                  <a:pt x="962789" y="982160"/>
                </a:lnTo>
                <a:lnTo>
                  <a:pt x="0" y="982160"/>
                </a:lnTo>
                <a:close/>
              </a:path>
            </a:pathLst>
          </a:custGeom>
          <a:solidFill>
            <a:schemeClr val="bg1">
              <a:lumMod val="95000"/>
            </a:schemeClr>
          </a:solidFill>
          <a:ln w="38100">
            <a:noFill/>
          </a:ln>
        </p:spPr>
        <p:txBody>
          <a:bodyPr wrap="square">
            <a:noAutofit/>
          </a:bodyPr>
          <a:lstStyle>
            <a:lvl1pPr algn="ctr">
              <a:defRPr sz="1200"/>
            </a:lvl1pPr>
          </a:lstStyle>
          <a:p>
            <a:endParaRPr lang="en-US" dirty="0"/>
          </a:p>
        </p:txBody>
      </p:sp>
      <p:sp>
        <p:nvSpPr>
          <p:cNvPr id="26" name="Picture Placeholder 25"/>
          <p:cNvSpPr>
            <a:spLocks noGrp="1"/>
          </p:cNvSpPr>
          <p:nvPr>
            <p:ph type="pic" sz="quarter" idx="11"/>
          </p:nvPr>
        </p:nvSpPr>
        <p:spPr>
          <a:xfrm>
            <a:off x="2010445" y="4828470"/>
            <a:ext cx="1154906" cy="1154906"/>
          </a:xfrm>
          <a:custGeom>
            <a:avLst/>
            <a:gdLst>
              <a:gd name="connsiteX0" fmla="*/ 0 w 987831"/>
              <a:gd name="connsiteY0" fmla="*/ 0 h 987831"/>
              <a:gd name="connsiteX1" fmla="*/ 987831 w 987831"/>
              <a:gd name="connsiteY1" fmla="*/ 0 h 987831"/>
              <a:gd name="connsiteX2" fmla="*/ 987831 w 987831"/>
              <a:gd name="connsiteY2" fmla="*/ 987831 h 987831"/>
              <a:gd name="connsiteX3" fmla="*/ 0 w 987831"/>
              <a:gd name="connsiteY3" fmla="*/ 987831 h 987831"/>
            </a:gdLst>
            <a:ahLst/>
            <a:cxnLst>
              <a:cxn ang="0">
                <a:pos x="connsiteX0" y="connsiteY0"/>
              </a:cxn>
              <a:cxn ang="0">
                <a:pos x="connsiteX1" y="connsiteY1"/>
              </a:cxn>
              <a:cxn ang="0">
                <a:pos x="connsiteX2" y="connsiteY2"/>
              </a:cxn>
              <a:cxn ang="0">
                <a:pos x="connsiteX3" y="connsiteY3"/>
              </a:cxn>
            </a:cxnLst>
            <a:rect l="l" t="t" r="r" b="b"/>
            <a:pathLst>
              <a:path w="987831" h="987831">
                <a:moveTo>
                  <a:pt x="0" y="0"/>
                </a:moveTo>
                <a:lnTo>
                  <a:pt x="987831" y="0"/>
                </a:lnTo>
                <a:lnTo>
                  <a:pt x="987831" y="987831"/>
                </a:lnTo>
                <a:lnTo>
                  <a:pt x="0" y="987831"/>
                </a:lnTo>
                <a:close/>
              </a:path>
            </a:pathLst>
          </a:custGeom>
          <a:solidFill>
            <a:schemeClr val="bg1">
              <a:lumMod val="95000"/>
            </a:schemeClr>
          </a:solidFill>
          <a:ln w="38100">
            <a:noFill/>
          </a:ln>
        </p:spPr>
        <p:txBody>
          <a:bodyPr wrap="square">
            <a:noAutofit/>
          </a:bodyPr>
          <a:lstStyle>
            <a:lvl1pPr algn="ctr">
              <a:defRPr sz="1200"/>
            </a:lvl1pPr>
          </a:lstStyle>
          <a:p>
            <a:endParaRPr lang="en-US" dirty="0"/>
          </a:p>
        </p:txBody>
      </p:sp>
      <p:sp>
        <p:nvSpPr>
          <p:cNvPr id="28" name="Picture Placeholder 27"/>
          <p:cNvSpPr>
            <a:spLocks noGrp="1"/>
          </p:cNvSpPr>
          <p:nvPr>
            <p:ph type="pic" sz="quarter" idx="12"/>
          </p:nvPr>
        </p:nvSpPr>
        <p:spPr>
          <a:xfrm>
            <a:off x="3756939" y="4837569"/>
            <a:ext cx="1155105" cy="1155105"/>
          </a:xfrm>
          <a:custGeom>
            <a:avLst/>
            <a:gdLst>
              <a:gd name="connsiteX0" fmla="*/ 0 w 988002"/>
              <a:gd name="connsiteY0" fmla="*/ 0 h 988002"/>
              <a:gd name="connsiteX1" fmla="*/ 988002 w 988002"/>
              <a:gd name="connsiteY1" fmla="*/ 0 h 988002"/>
              <a:gd name="connsiteX2" fmla="*/ 988002 w 988002"/>
              <a:gd name="connsiteY2" fmla="*/ 988002 h 988002"/>
              <a:gd name="connsiteX3" fmla="*/ 0 w 988002"/>
              <a:gd name="connsiteY3" fmla="*/ 988002 h 988002"/>
            </a:gdLst>
            <a:ahLst/>
            <a:cxnLst>
              <a:cxn ang="0">
                <a:pos x="connsiteX0" y="connsiteY0"/>
              </a:cxn>
              <a:cxn ang="0">
                <a:pos x="connsiteX1" y="connsiteY1"/>
              </a:cxn>
              <a:cxn ang="0">
                <a:pos x="connsiteX2" y="connsiteY2"/>
              </a:cxn>
              <a:cxn ang="0">
                <a:pos x="connsiteX3" y="connsiteY3"/>
              </a:cxn>
            </a:cxnLst>
            <a:rect l="l" t="t" r="r" b="b"/>
            <a:pathLst>
              <a:path w="988002" h="988002">
                <a:moveTo>
                  <a:pt x="0" y="0"/>
                </a:moveTo>
                <a:lnTo>
                  <a:pt x="988002" y="0"/>
                </a:lnTo>
                <a:lnTo>
                  <a:pt x="988002" y="988002"/>
                </a:lnTo>
                <a:lnTo>
                  <a:pt x="0" y="988002"/>
                </a:lnTo>
                <a:close/>
              </a:path>
            </a:pathLst>
          </a:custGeom>
          <a:solidFill>
            <a:schemeClr val="bg1">
              <a:lumMod val="95000"/>
            </a:schemeClr>
          </a:solidFill>
          <a:ln w="38100">
            <a:noFill/>
          </a:ln>
        </p:spPr>
        <p:txBody>
          <a:bodyPr wrap="square">
            <a:noAutofit/>
          </a:bodyPr>
          <a:lstStyle>
            <a:lvl1pPr algn="ctr">
              <a:defRPr sz="1200"/>
            </a:lvl1pPr>
          </a:lstStyle>
          <a:p>
            <a:endParaRPr lang="en-US" dirty="0"/>
          </a:p>
        </p:txBody>
      </p:sp>
      <p:sp>
        <p:nvSpPr>
          <p:cNvPr id="27" name="Picture Placeholder 26"/>
          <p:cNvSpPr>
            <a:spLocks noGrp="1"/>
          </p:cNvSpPr>
          <p:nvPr>
            <p:ph type="pic" sz="quarter" idx="13"/>
          </p:nvPr>
        </p:nvSpPr>
        <p:spPr>
          <a:xfrm>
            <a:off x="4678305" y="3094320"/>
            <a:ext cx="1172342" cy="1139158"/>
          </a:xfrm>
          <a:custGeom>
            <a:avLst/>
            <a:gdLst>
              <a:gd name="connsiteX0" fmla="*/ 0 w 1002745"/>
              <a:gd name="connsiteY0" fmla="*/ 0 h 974362"/>
              <a:gd name="connsiteX1" fmla="*/ 1002745 w 1002745"/>
              <a:gd name="connsiteY1" fmla="*/ 0 h 974362"/>
              <a:gd name="connsiteX2" fmla="*/ 1002745 w 1002745"/>
              <a:gd name="connsiteY2" fmla="*/ 974362 h 974362"/>
              <a:gd name="connsiteX3" fmla="*/ 0 w 1002745"/>
              <a:gd name="connsiteY3" fmla="*/ 974362 h 974362"/>
            </a:gdLst>
            <a:ahLst/>
            <a:cxnLst>
              <a:cxn ang="0">
                <a:pos x="connsiteX0" y="connsiteY0"/>
              </a:cxn>
              <a:cxn ang="0">
                <a:pos x="connsiteX1" y="connsiteY1"/>
              </a:cxn>
              <a:cxn ang="0">
                <a:pos x="connsiteX2" y="connsiteY2"/>
              </a:cxn>
              <a:cxn ang="0">
                <a:pos x="connsiteX3" y="connsiteY3"/>
              </a:cxn>
            </a:cxnLst>
            <a:rect l="l" t="t" r="r" b="b"/>
            <a:pathLst>
              <a:path w="1002745" h="974362">
                <a:moveTo>
                  <a:pt x="0" y="0"/>
                </a:moveTo>
                <a:lnTo>
                  <a:pt x="1002745" y="0"/>
                </a:lnTo>
                <a:lnTo>
                  <a:pt x="1002745" y="974362"/>
                </a:lnTo>
                <a:lnTo>
                  <a:pt x="0" y="974362"/>
                </a:lnTo>
                <a:close/>
              </a:path>
            </a:pathLst>
          </a:custGeom>
          <a:solidFill>
            <a:schemeClr val="bg1">
              <a:lumMod val="95000"/>
            </a:schemeClr>
          </a:solidFill>
          <a:ln w="38100">
            <a:noFill/>
          </a:ln>
        </p:spPr>
        <p:txBody>
          <a:bodyPr wrap="square">
            <a:noAutofit/>
          </a:bodyPr>
          <a:lstStyle>
            <a:lvl1pPr algn="ctr">
              <a:defRPr sz="1200"/>
            </a:lvl1pPr>
          </a:lstStyle>
          <a:p>
            <a:endParaRPr lang="en-US" dirty="0"/>
          </a:p>
        </p:txBody>
      </p:sp>
      <p:sp>
        <p:nvSpPr>
          <p:cNvPr id="24" name="Picture Placeholder 23"/>
          <p:cNvSpPr>
            <a:spLocks noGrp="1"/>
          </p:cNvSpPr>
          <p:nvPr>
            <p:ph type="pic" sz="quarter" idx="14"/>
          </p:nvPr>
        </p:nvSpPr>
        <p:spPr>
          <a:xfrm>
            <a:off x="5528478" y="1358536"/>
            <a:ext cx="1147424" cy="1147424"/>
          </a:xfrm>
          <a:custGeom>
            <a:avLst/>
            <a:gdLst>
              <a:gd name="connsiteX0" fmla="*/ 0 w 981432"/>
              <a:gd name="connsiteY0" fmla="*/ 0 h 981432"/>
              <a:gd name="connsiteX1" fmla="*/ 981432 w 981432"/>
              <a:gd name="connsiteY1" fmla="*/ 0 h 981432"/>
              <a:gd name="connsiteX2" fmla="*/ 981432 w 981432"/>
              <a:gd name="connsiteY2" fmla="*/ 981432 h 981432"/>
              <a:gd name="connsiteX3" fmla="*/ 0 w 981432"/>
              <a:gd name="connsiteY3" fmla="*/ 981432 h 981432"/>
            </a:gdLst>
            <a:ahLst/>
            <a:cxnLst>
              <a:cxn ang="0">
                <a:pos x="connsiteX0" y="connsiteY0"/>
              </a:cxn>
              <a:cxn ang="0">
                <a:pos x="connsiteX1" y="connsiteY1"/>
              </a:cxn>
              <a:cxn ang="0">
                <a:pos x="connsiteX2" y="connsiteY2"/>
              </a:cxn>
              <a:cxn ang="0">
                <a:pos x="connsiteX3" y="connsiteY3"/>
              </a:cxn>
            </a:cxnLst>
            <a:rect l="l" t="t" r="r" b="b"/>
            <a:pathLst>
              <a:path w="981432" h="981432">
                <a:moveTo>
                  <a:pt x="0" y="0"/>
                </a:moveTo>
                <a:lnTo>
                  <a:pt x="981432" y="0"/>
                </a:lnTo>
                <a:lnTo>
                  <a:pt x="981432" y="981432"/>
                </a:lnTo>
                <a:lnTo>
                  <a:pt x="0" y="981432"/>
                </a:lnTo>
                <a:close/>
              </a:path>
            </a:pathLst>
          </a:custGeom>
          <a:solidFill>
            <a:schemeClr val="bg1">
              <a:lumMod val="95000"/>
            </a:schemeClr>
          </a:solidFill>
          <a:ln w="38100">
            <a:noFill/>
          </a:ln>
        </p:spPr>
        <p:txBody>
          <a:bodyPr wrap="square">
            <a:noAutofit/>
          </a:bodyPr>
          <a:lstStyle>
            <a:lvl1pPr algn="ctr">
              <a:defRPr sz="1200"/>
            </a:lvl1pPr>
          </a:lstStyle>
          <a:p>
            <a:endParaRPr lang="en-US" dirty="0"/>
          </a:p>
        </p:txBody>
      </p:sp>
      <p:sp>
        <p:nvSpPr>
          <p:cNvPr id="31" name="Picture Placeholder 30"/>
          <p:cNvSpPr>
            <a:spLocks noGrp="1"/>
          </p:cNvSpPr>
          <p:nvPr>
            <p:ph type="pic" sz="quarter" idx="15"/>
          </p:nvPr>
        </p:nvSpPr>
        <p:spPr>
          <a:xfrm>
            <a:off x="8182650" y="3086524"/>
            <a:ext cx="1153227" cy="1148274"/>
          </a:xfrm>
          <a:custGeom>
            <a:avLst/>
            <a:gdLst>
              <a:gd name="connsiteX0" fmla="*/ 0 w 986396"/>
              <a:gd name="connsiteY0" fmla="*/ 0 h 982159"/>
              <a:gd name="connsiteX1" fmla="*/ 986396 w 986396"/>
              <a:gd name="connsiteY1" fmla="*/ 0 h 982159"/>
              <a:gd name="connsiteX2" fmla="*/ 986396 w 986396"/>
              <a:gd name="connsiteY2" fmla="*/ 982159 h 982159"/>
              <a:gd name="connsiteX3" fmla="*/ 0 w 986396"/>
              <a:gd name="connsiteY3" fmla="*/ 982159 h 982159"/>
            </a:gdLst>
            <a:ahLst/>
            <a:cxnLst>
              <a:cxn ang="0">
                <a:pos x="connsiteX0" y="connsiteY0"/>
              </a:cxn>
              <a:cxn ang="0">
                <a:pos x="connsiteX1" y="connsiteY1"/>
              </a:cxn>
              <a:cxn ang="0">
                <a:pos x="connsiteX2" y="connsiteY2"/>
              </a:cxn>
              <a:cxn ang="0">
                <a:pos x="connsiteX3" y="connsiteY3"/>
              </a:cxn>
            </a:cxnLst>
            <a:rect l="l" t="t" r="r" b="b"/>
            <a:pathLst>
              <a:path w="986396" h="982159">
                <a:moveTo>
                  <a:pt x="0" y="0"/>
                </a:moveTo>
                <a:lnTo>
                  <a:pt x="986396" y="0"/>
                </a:lnTo>
                <a:lnTo>
                  <a:pt x="986396" y="982159"/>
                </a:lnTo>
                <a:lnTo>
                  <a:pt x="0" y="982159"/>
                </a:lnTo>
                <a:close/>
              </a:path>
            </a:pathLst>
          </a:custGeom>
          <a:solidFill>
            <a:schemeClr val="bg1">
              <a:lumMod val="95000"/>
            </a:schemeClr>
          </a:solidFill>
          <a:ln w="38100">
            <a:noFill/>
          </a:ln>
        </p:spPr>
        <p:txBody>
          <a:bodyPr wrap="square">
            <a:noAutofit/>
          </a:bodyPr>
          <a:lstStyle>
            <a:lvl1pPr algn="ctr">
              <a:defRPr sz="1200"/>
            </a:lvl1pPr>
          </a:lstStyle>
          <a:p>
            <a:endParaRPr lang="en-US" dirty="0"/>
          </a:p>
        </p:txBody>
      </p:sp>
      <p:sp>
        <p:nvSpPr>
          <p:cNvPr id="32" name="Picture Placeholder 31"/>
          <p:cNvSpPr>
            <a:spLocks noGrp="1"/>
          </p:cNvSpPr>
          <p:nvPr>
            <p:ph type="pic" sz="quarter" idx="16"/>
          </p:nvPr>
        </p:nvSpPr>
        <p:spPr>
          <a:xfrm>
            <a:off x="9039540" y="4844063"/>
            <a:ext cx="1148232" cy="1148232"/>
          </a:xfrm>
          <a:custGeom>
            <a:avLst/>
            <a:gdLst>
              <a:gd name="connsiteX0" fmla="*/ 0 w 982123"/>
              <a:gd name="connsiteY0" fmla="*/ 0 h 982123"/>
              <a:gd name="connsiteX1" fmla="*/ 982123 w 982123"/>
              <a:gd name="connsiteY1" fmla="*/ 0 h 982123"/>
              <a:gd name="connsiteX2" fmla="*/ 982123 w 982123"/>
              <a:gd name="connsiteY2" fmla="*/ 982123 h 982123"/>
              <a:gd name="connsiteX3" fmla="*/ 0 w 982123"/>
              <a:gd name="connsiteY3" fmla="*/ 982123 h 982123"/>
            </a:gdLst>
            <a:ahLst/>
            <a:cxnLst>
              <a:cxn ang="0">
                <a:pos x="connsiteX0" y="connsiteY0"/>
              </a:cxn>
              <a:cxn ang="0">
                <a:pos x="connsiteX1" y="connsiteY1"/>
              </a:cxn>
              <a:cxn ang="0">
                <a:pos x="connsiteX2" y="connsiteY2"/>
              </a:cxn>
              <a:cxn ang="0">
                <a:pos x="connsiteX3" y="connsiteY3"/>
              </a:cxn>
            </a:cxnLst>
            <a:rect l="l" t="t" r="r" b="b"/>
            <a:pathLst>
              <a:path w="982123" h="982123">
                <a:moveTo>
                  <a:pt x="0" y="0"/>
                </a:moveTo>
                <a:lnTo>
                  <a:pt x="982123" y="0"/>
                </a:lnTo>
                <a:lnTo>
                  <a:pt x="982123" y="982123"/>
                </a:lnTo>
                <a:lnTo>
                  <a:pt x="0" y="982123"/>
                </a:lnTo>
                <a:close/>
              </a:path>
            </a:pathLst>
          </a:custGeom>
          <a:solidFill>
            <a:schemeClr val="bg1">
              <a:lumMod val="95000"/>
            </a:schemeClr>
          </a:solidFill>
          <a:ln w="38100">
            <a:noFill/>
          </a:ln>
        </p:spPr>
        <p:txBody>
          <a:bodyPr wrap="square">
            <a:noAutofit/>
          </a:bodyPr>
          <a:lstStyle>
            <a:lvl1pPr algn="ctr">
              <a:defRPr sz="1200"/>
            </a:lvl1pPr>
          </a:lstStyle>
          <a:p>
            <a:endParaRPr lang="en-US" dirty="0"/>
          </a:p>
        </p:txBody>
      </p:sp>
      <p:sp>
        <p:nvSpPr>
          <p:cNvPr id="30" name="Picture Placeholder 29"/>
          <p:cNvSpPr>
            <a:spLocks noGrp="1"/>
          </p:cNvSpPr>
          <p:nvPr>
            <p:ph type="pic" sz="quarter" idx="17"/>
          </p:nvPr>
        </p:nvSpPr>
        <p:spPr>
          <a:xfrm>
            <a:off x="7279957" y="4842716"/>
            <a:ext cx="1141541" cy="1133368"/>
          </a:xfrm>
          <a:custGeom>
            <a:avLst/>
            <a:gdLst>
              <a:gd name="connsiteX0" fmla="*/ 0 w 976400"/>
              <a:gd name="connsiteY0" fmla="*/ 0 h 969409"/>
              <a:gd name="connsiteX1" fmla="*/ 976400 w 976400"/>
              <a:gd name="connsiteY1" fmla="*/ 0 h 969409"/>
              <a:gd name="connsiteX2" fmla="*/ 976400 w 976400"/>
              <a:gd name="connsiteY2" fmla="*/ 969409 h 969409"/>
              <a:gd name="connsiteX3" fmla="*/ 0 w 976400"/>
              <a:gd name="connsiteY3" fmla="*/ 969409 h 969409"/>
            </a:gdLst>
            <a:ahLst/>
            <a:cxnLst>
              <a:cxn ang="0">
                <a:pos x="connsiteX0" y="connsiteY0"/>
              </a:cxn>
              <a:cxn ang="0">
                <a:pos x="connsiteX1" y="connsiteY1"/>
              </a:cxn>
              <a:cxn ang="0">
                <a:pos x="connsiteX2" y="connsiteY2"/>
              </a:cxn>
              <a:cxn ang="0">
                <a:pos x="connsiteX3" y="connsiteY3"/>
              </a:cxn>
            </a:cxnLst>
            <a:rect l="l" t="t" r="r" b="b"/>
            <a:pathLst>
              <a:path w="976400" h="969409">
                <a:moveTo>
                  <a:pt x="0" y="0"/>
                </a:moveTo>
                <a:lnTo>
                  <a:pt x="976400" y="0"/>
                </a:lnTo>
                <a:lnTo>
                  <a:pt x="976400" y="969409"/>
                </a:lnTo>
                <a:lnTo>
                  <a:pt x="0" y="969409"/>
                </a:lnTo>
                <a:close/>
              </a:path>
            </a:pathLst>
          </a:custGeom>
          <a:solidFill>
            <a:schemeClr val="bg1">
              <a:lumMod val="95000"/>
            </a:schemeClr>
          </a:solidFill>
          <a:ln w="38100">
            <a:noFill/>
          </a:ln>
        </p:spPr>
        <p:txBody>
          <a:bodyPr wrap="square">
            <a:noAutofit/>
          </a:bodyPr>
          <a:lstStyle>
            <a:lvl1pPr algn="ctr">
              <a:defRPr sz="1200"/>
            </a:lvl1pPr>
          </a:lstStyle>
          <a:p>
            <a:endParaRPr lang="en-US" dirty="0"/>
          </a:p>
        </p:txBody>
      </p:sp>
      <p:sp>
        <p:nvSpPr>
          <p:cNvPr id="29" name="Picture Placeholder 28"/>
          <p:cNvSpPr>
            <a:spLocks noGrp="1"/>
          </p:cNvSpPr>
          <p:nvPr>
            <p:ph type="pic" sz="quarter" idx="18"/>
          </p:nvPr>
        </p:nvSpPr>
        <p:spPr>
          <a:xfrm>
            <a:off x="6341354" y="3106344"/>
            <a:ext cx="1139158" cy="1125102"/>
          </a:xfrm>
          <a:custGeom>
            <a:avLst/>
            <a:gdLst>
              <a:gd name="connsiteX0" fmla="*/ 0 w 974361"/>
              <a:gd name="connsiteY0" fmla="*/ 0 h 962339"/>
              <a:gd name="connsiteX1" fmla="*/ 974361 w 974361"/>
              <a:gd name="connsiteY1" fmla="*/ 0 h 962339"/>
              <a:gd name="connsiteX2" fmla="*/ 974361 w 974361"/>
              <a:gd name="connsiteY2" fmla="*/ 962339 h 962339"/>
              <a:gd name="connsiteX3" fmla="*/ 0 w 974361"/>
              <a:gd name="connsiteY3" fmla="*/ 962339 h 962339"/>
            </a:gdLst>
            <a:ahLst/>
            <a:cxnLst>
              <a:cxn ang="0">
                <a:pos x="connsiteX0" y="connsiteY0"/>
              </a:cxn>
              <a:cxn ang="0">
                <a:pos x="connsiteX1" y="connsiteY1"/>
              </a:cxn>
              <a:cxn ang="0">
                <a:pos x="connsiteX2" y="connsiteY2"/>
              </a:cxn>
              <a:cxn ang="0">
                <a:pos x="connsiteX3" y="connsiteY3"/>
              </a:cxn>
            </a:cxnLst>
            <a:rect l="l" t="t" r="r" b="b"/>
            <a:pathLst>
              <a:path w="974361" h="962339">
                <a:moveTo>
                  <a:pt x="0" y="0"/>
                </a:moveTo>
                <a:lnTo>
                  <a:pt x="974361" y="0"/>
                </a:lnTo>
                <a:lnTo>
                  <a:pt x="974361" y="962339"/>
                </a:lnTo>
                <a:lnTo>
                  <a:pt x="0" y="962339"/>
                </a:lnTo>
                <a:close/>
              </a:path>
            </a:pathLst>
          </a:custGeom>
          <a:solidFill>
            <a:schemeClr val="bg1">
              <a:lumMod val="95000"/>
            </a:schemeClr>
          </a:solidFill>
          <a:ln w="38100">
            <a:noFill/>
          </a:ln>
        </p:spPr>
        <p:txBody>
          <a:bodyPr wrap="square">
            <a:noAutofit/>
          </a:bodyPr>
          <a:lstStyle>
            <a:lvl1pPr algn="ctr">
              <a:defRPr sz="1200"/>
            </a:lvl1pPr>
          </a:lstStyle>
          <a:p>
            <a:endParaRPr lang="en-US" dirty="0"/>
          </a:p>
        </p:txBody>
      </p:sp>
    </p:spTree>
    <p:extLst>
      <p:ext uri="{BB962C8B-B14F-4D97-AF65-F5344CB8AC3E}">
        <p14:creationId xmlns:p14="http://schemas.microsoft.com/office/powerpoint/2010/main" val="28868852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35146-B8C7-A3CA-9273-F7F92C6EB26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34685D3-B364-72BE-F5CB-A040498E1AC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ACD31BE-969F-0E6C-5B72-8B804B37C1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0C9A0E4-BA8E-1E9B-8A86-5CAFACFDDF66}"/>
              </a:ext>
            </a:extLst>
          </p:cNvPr>
          <p:cNvSpPr>
            <a:spLocks noGrp="1"/>
          </p:cNvSpPr>
          <p:nvPr>
            <p:ph type="dt" sz="half" idx="10"/>
          </p:nvPr>
        </p:nvSpPr>
        <p:spPr/>
        <p:txBody>
          <a:bodyPr/>
          <a:lstStyle/>
          <a:p>
            <a:fld id="{E0E77212-FEB2-4966-BEAF-9AC2950C345D}" type="datetimeFigureOut">
              <a:rPr lang="en-GB" smtClean="0"/>
              <a:t>25/12/2023</a:t>
            </a:fld>
            <a:endParaRPr lang="en-GB"/>
          </a:p>
        </p:txBody>
      </p:sp>
      <p:sp>
        <p:nvSpPr>
          <p:cNvPr id="6" name="Footer Placeholder 5">
            <a:extLst>
              <a:ext uri="{FF2B5EF4-FFF2-40B4-BE49-F238E27FC236}">
                <a16:creationId xmlns:a16="http://schemas.microsoft.com/office/drawing/2014/main" id="{A330AC57-CCF2-DD08-5655-27FD9A6D6C7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D9CCABF-2B0C-A939-0590-5AC3263F524F}"/>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2280053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8_Custom Layout">
    <p:spTree>
      <p:nvGrpSpPr>
        <p:cNvPr id="1" name=""/>
        <p:cNvGrpSpPr/>
        <p:nvPr/>
      </p:nvGrpSpPr>
      <p:grpSpPr>
        <a:xfrm>
          <a:off x="0" y="0"/>
          <a:ext cx="0" cy="0"/>
          <a:chOff x="0" y="0"/>
          <a:chExt cx="0" cy="0"/>
        </a:xfrm>
      </p:grpSpPr>
      <p:sp>
        <p:nvSpPr>
          <p:cNvPr id="33" name="Picture Placeholder 32"/>
          <p:cNvSpPr>
            <a:spLocks noGrp="1"/>
          </p:cNvSpPr>
          <p:nvPr>
            <p:ph type="pic" sz="quarter" idx="10"/>
          </p:nvPr>
        </p:nvSpPr>
        <p:spPr>
          <a:xfrm>
            <a:off x="5199284" y="1322465"/>
            <a:ext cx="1793432" cy="1793432"/>
          </a:xfrm>
          <a:custGeom>
            <a:avLst/>
            <a:gdLst>
              <a:gd name="connsiteX0" fmla="*/ 896716 w 1793432"/>
              <a:gd name="connsiteY0" fmla="*/ 0 h 1793432"/>
              <a:gd name="connsiteX1" fmla="*/ 1793432 w 1793432"/>
              <a:gd name="connsiteY1" fmla="*/ 896716 h 1793432"/>
              <a:gd name="connsiteX2" fmla="*/ 896716 w 1793432"/>
              <a:gd name="connsiteY2" fmla="*/ 1793432 h 1793432"/>
              <a:gd name="connsiteX3" fmla="*/ 0 w 1793432"/>
              <a:gd name="connsiteY3" fmla="*/ 896716 h 1793432"/>
              <a:gd name="connsiteX4" fmla="*/ 896716 w 1793432"/>
              <a:gd name="connsiteY4" fmla="*/ 0 h 1793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432" h="1793432">
                <a:moveTo>
                  <a:pt x="896716" y="0"/>
                </a:moveTo>
                <a:cubicBezTo>
                  <a:pt x="1391959" y="0"/>
                  <a:pt x="1793432" y="401473"/>
                  <a:pt x="1793432" y="896716"/>
                </a:cubicBezTo>
                <a:cubicBezTo>
                  <a:pt x="1793432" y="1391959"/>
                  <a:pt x="1391959" y="1793432"/>
                  <a:pt x="896716" y="1793432"/>
                </a:cubicBezTo>
                <a:cubicBezTo>
                  <a:pt x="401473" y="1793432"/>
                  <a:pt x="0" y="1391959"/>
                  <a:pt x="0" y="896716"/>
                </a:cubicBezTo>
                <a:cubicBezTo>
                  <a:pt x="0" y="401473"/>
                  <a:pt x="401473" y="0"/>
                  <a:pt x="896716" y="0"/>
                </a:cubicBezTo>
                <a:close/>
              </a:path>
            </a:pathLst>
          </a:custGeom>
          <a:solidFill>
            <a:schemeClr val="bg1">
              <a:lumMod val="95000"/>
            </a:schemeClr>
          </a:solidFill>
          <a:ln w="38100">
            <a:noFill/>
          </a:ln>
        </p:spPr>
        <p:txBody>
          <a:bodyPr wrap="square">
            <a:noAutofit/>
          </a:bodyPr>
          <a:lstStyle>
            <a:lvl1pPr algn="ctr">
              <a:defRPr sz="1200">
                <a:solidFill>
                  <a:schemeClr val="tx1"/>
                </a:solidFill>
              </a:defRPr>
            </a:lvl1pPr>
          </a:lstStyle>
          <a:p>
            <a:endParaRPr lang="en-US" dirty="0"/>
          </a:p>
        </p:txBody>
      </p:sp>
      <p:sp>
        <p:nvSpPr>
          <p:cNvPr id="44" name="Picture Placeholder 43"/>
          <p:cNvSpPr>
            <a:spLocks noGrp="1"/>
          </p:cNvSpPr>
          <p:nvPr>
            <p:ph type="pic" sz="quarter" idx="11"/>
          </p:nvPr>
        </p:nvSpPr>
        <p:spPr>
          <a:xfrm>
            <a:off x="1946608" y="2347583"/>
            <a:ext cx="1119688" cy="1119688"/>
          </a:xfrm>
          <a:custGeom>
            <a:avLst/>
            <a:gdLst>
              <a:gd name="connsiteX0" fmla="*/ 559844 w 1119688"/>
              <a:gd name="connsiteY0" fmla="*/ 0 h 1119688"/>
              <a:gd name="connsiteX1" fmla="*/ 1119688 w 1119688"/>
              <a:gd name="connsiteY1" fmla="*/ 559844 h 1119688"/>
              <a:gd name="connsiteX2" fmla="*/ 559844 w 1119688"/>
              <a:gd name="connsiteY2" fmla="*/ 1119688 h 1119688"/>
              <a:gd name="connsiteX3" fmla="*/ 0 w 1119688"/>
              <a:gd name="connsiteY3" fmla="*/ 559844 h 1119688"/>
              <a:gd name="connsiteX4" fmla="*/ 559844 w 1119688"/>
              <a:gd name="connsiteY4" fmla="*/ 0 h 111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688" h="1119688">
                <a:moveTo>
                  <a:pt x="559844" y="0"/>
                </a:moveTo>
                <a:cubicBezTo>
                  <a:pt x="869037" y="0"/>
                  <a:pt x="1119688" y="250651"/>
                  <a:pt x="1119688" y="559844"/>
                </a:cubicBezTo>
                <a:cubicBezTo>
                  <a:pt x="1119688" y="869037"/>
                  <a:pt x="869037" y="1119688"/>
                  <a:pt x="559844" y="1119688"/>
                </a:cubicBezTo>
                <a:cubicBezTo>
                  <a:pt x="250651" y="1119688"/>
                  <a:pt x="0" y="869037"/>
                  <a:pt x="0" y="559844"/>
                </a:cubicBezTo>
                <a:cubicBezTo>
                  <a:pt x="0" y="250651"/>
                  <a:pt x="250651" y="0"/>
                  <a:pt x="559844" y="0"/>
                </a:cubicBezTo>
                <a:close/>
              </a:path>
            </a:pathLst>
          </a:custGeom>
          <a:solidFill>
            <a:schemeClr val="bg1">
              <a:lumMod val="95000"/>
            </a:schemeClr>
          </a:solidFill>
          <a:ln w="38100">
            <a:noFill/>
          </a:ln>
        </p:spPr>
        <p:txBody>
          <a:bodyPr wrap="square">
            <a:noAutofit/>
          </a:bodyPr>
          <a:lstStyle>
            <a:lvl1pPr algn="ctr">
              <a:defRPr sz="1200">
                <a:solidFill>
                  <a:schemeClr val="tx1"/>
                </a:solidFill>
              </a:defRPr>
            </a:lvl1pPr>
          </a:lstStyle>
          <a:p>
            <a:endParaRPr lang="en-US" dirty="0"/>
          </a:p>
        </p:txBody>
      </p:sp>
      <p:sp>
        <p:nvSpPr>
          <p:cNvPr id="43" name="Picture Placeholder 42"/>
          <p:cNvSpPr>
            <a:spLocks noGrp="1"/>
          </p:cNvSpPr>
          <p:nvPr>
            <p:ph type="pic" sz="quarter" idx="12"/>
          </p:nvPr>
        </p:nvSpPr>
        <p:spPr>
          <a:xfrm>
            <a:off x="3686621" y="2342210"/>
            <a:ext cx="1119688" cy="1119688"/>
          </a:xfrm>
          <a:custGeom>
            <a:avLst/>
            <a:gdLst>
              <a:gd name="connsiteX0" fmla="*/ 559844 w 1119688"/>
              <a:gd name="connsiteY0" fmla="*/ 0 h 1119688"/>
              <a:gd name="connsiteX1" fmla="*/ 1119688 w 1119688"/>
              <a:gd name="connsiteY1" fmla="*/ 559844 h 1119688"/>
              <a:gd name="connsiteX2" fmla="*/ 559844 w 1119688"/>
              <a:gd name="connsiteY2" fmla="*/ 1119688 h 1119688"/>
              <a:gd name="connsiteX3" fmla="*/ 0 w 1119688"/>
              <a:gd name="connsiteY3" fmla="*/ 559844 h 1119688"/>
              <a:gd name="connsiteX4" fmla="*/ 559844 w 1119688"/>
              <a:gd name="connsiteY4" fmla="*/ 0 h 111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688" h="1119688">
                <a:moveTo>
                  <a:pt x="559844" y="0"/>
                </a:moveTo>
                <a:cubicBezTo>
                  <a:pt x="869037" y="0"/>
                  <a:pt x="1119688" y="250651"/>
                  <a:pt x="1119688" y="559844"/>
                </a:cubicBezTo>
                <a:cubicBezTo>
                  <a:pt x="1119688" y="869037"/>
                  <a:pt x="869037" y="1119688"/>
                  <a:pt x="559844" y="1119688"/>
                </a:cubicBezTo>
                <a:cubicBezTo>
                  <a:pt x="250651" y="1119688"/>
                  <a:pt x="0" y="869037"/>
                  <a:pt x="0" y="559844"/>
                </a:cubicBezTo>
                <a:cubicBezTo>
                  <a:pt x="0" y="250651"/>
                  <a:pt x="250651" y="0"/>
                  <a:pt x="559844" y="0"/>
                </a:cubicBezTo>
                <a:close/>
              </a:path>
            </a:pathLst>
          </a:custGeom>
          <a:solidFill>
            <a:schemeClr val="bg1">
              <a:lumMod val="95000"/>
            </a:schemeClr>
          </a:solidFill>
          <a:ln w="38100">
            <a:noFill/>
          </a:ln>
        </p:spPr>
        <p:txBody>
          <a:bodyPr wrap="square">
            <a:noAutofit/>
          </a:bodyPr>
          <a:lstStyle>
            <a:lvl1pPr algn="ctr">
              <a:defRPr sz="1200">
                <a:solidFill>
                  <a:schemeClr val="tx1"/>
                </a:solidFill>
              </a:defRPr>
            </a:lvl1pPr>
          </a:lstStyle>
          <a:p>
            <a:endParaRPr lang="en-US" dirty="0"/>
          </a:p>
        </p:txBody>
      </p:sp>
      <p:sp>
        <p:nvSpPr>
          <p:cNvPr id="42" name="Picture Placeholder 41"/>
          <p:cNvSpPr>
            <a:spLocks noGrp="1"/>
          </p:cNvSpPr>
          <p:nvPr>
            <p:ph type="pic" sz="quarter" idx="13"/>
          </p:nvPr>
        </p:nvSpPr>
        <p:spPr>
          <a:xfrm>
            <a:off x="705872" y="4609878"/>
            <a:ext cx="1009438" cy="1009438"/>
          </a:xfrm>
          <a:custGeom>
            <a:avLst/>
            <a:gdLst>
              <a:gd name="connsiteX0" fmla="*/ 504719 w 1009438"/>
              <a:gd name="connsiteY0" fmla="*/ 0 h 1009438"/>
              <a:gd name="connsiteX1" fmla="*/ 1009438 w 1009438"/>
              <a:gd name="connsiteY1" fmla="*/ 504719 h 1009438"/>
              <a:gd name="connsiteX2" fmla="*/ 504719 w 1009438"/>
              <a:gd name="connsiteY2" fmla="*/ 1009438 h 1009438"/>
              <a:gd name="connsiteX3" fmla="*/ 0 w 1009438"/>
              <a:gd name="connsiteY3" fmla="*/ 504719 h 1009438"/>
              <a:gd name="connsiteX4" fmla="*/ 504719 w 1009438"/>
              <a:gd name="connsiteY4" fmla="*/ 0 h 1009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438" h="1009438">
                <a:moveTo>
                  <a:pt x="504719" y="0"/>
                </a:moveTo>
                <a:cubicBezTo>
                  <a:pt x="783468" y="0"/>
                  <a:pt x="1009438" y="225970"/>
                  <a:pt x="1009438" y="504719"/>
                </a:cubicBezTo>
                <a:cubicBezTo>
                  <a:pt x="1009438" y="783468"/>
                  <a:pt x="783468" y="1009438"/>
                  <a:pt x="504719" y="1009438"/>
                </a:cubicBezTo>
                <a:cubicBezTo>
                  <a:pt x="225970" y="1009438"/>
                  <a:pt x="0" y="783468"/>
                  <a:pt x="0" y="504719"/>
                </a:cubicBezTo>
                <a:cubicBezTo>
                  <a:pt x="0" y="225970"/>
                  <a:pt x="225970" y="0"/>
                  <a:pt x="504719" y="0"/>
                </a:cubicBezTo>
                <a:close/>
              </a:path>
            </a:pathLst>
          </a:custGeom>
          <a:solidFill>
            <a:schemeClr val="bg1">
              <a:lumMod val="95000"/>
            </a:schemeClr>
          </a:solidFill>
          <a:ln w="38100">
            <a:noFill/>
          </a:ln>
        </p:spPr>
        <p:txBody>
          <a:bodyPr wrap="square">
            <a:noAutofit/>
          </a:bodyPr>
          <a:lstStyle>
            <a:lvl1pPr algn="ctr">
              <a:defRPr sz="1200">
                <a:solidFill>
                  <a:schemeClr val="tx1"/>
                </a:solidFill>
              </a:defRPr>
            </a:lvl1pPr>
          </a:lstStyle>
          <a:p>
            <a:endParaRPr lang="en-US" dirty="0"/>
          </a:p>
        </p:txBody>
      </p:sp>
      <p:sp>
        <p:nvSpPr>
          <p:cNvPr id="41" name="Picture Placeholder 40"/>
          <p:cNvSpPr>
            <a:spLocks noGrp="1"/>
          </p:cNvSpPr>
          <p:nvPr>
            <p:ph type="pic" sz="quarter" idx="14"/>
          </p:nvPr>
        </p:nvSpPr>
        <p:spPr>
          <a:xfrm>
            <a:off x="2042501" y="4629466"/>
            <a:ext cx="1009438" cy="1009438"/>
          </a:xfrm>
          <a:custGeom>
            <a:avLst/>
            <a:gdLst>
              <a:gd name="connsiteX0" fmla="*/ 504719 w 1009438"/>
              <a:gd name="connsiteY0" fmla="*/ 0 h 1009438"/>
              <a:gd name="connsiteX1" fmla="*/ 1009438 w 1009438"/>
              <a:gd name="connsiteY1" fmla="*/ 504719 h 1009438"/>
              <a:gd name="connsiteX2" fmla="*/ 504719 w 1009438"/>
              <a:gd name="connsiteY2" fmla="*/ 1009438 h 1009438"/>
              <a:gd name="connsiteX3" fmla="*/ 0 w 1009438"/>
              <a:gd name="connsiteY3" fmla="*/ 504719 h 1009438"/>
              <a:gd name="connsiteX4" fmla="*/ 504719 w 1009438"/>
              <a:gd name="connsiteY4" fmla="*/ 0 h 1009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438" h="1009438">
                <a:moveTo>
                  <a:pt x="504719" y="0"/>
                </a:moveTo>
                <a:cubicBezTo>
                  <a:pt x="783468" y="0"/>
                  <a:pt x="1009438" y="225970"/>
                  <a:pt x="1009438" y="504719"/>
                </a:cubicBezTo>
                <a:cubicBezTo>
                  <a:pt x="1009438" y="783468"/>
                  <a:pt x="783468" y="1009438"/>
                  <a:pt x="504719" y="1009438"/>
                </a:cubicBezTo>
                <a:cubicBezTo>
                  <a:pt x="225970" y="1009438"/>
                  <a:pt x="0" y="783468"/>
                  <a:pt x="0" y="504719"/>
                </a:cubicBezTo>
                <a:cubicBezTo>
                  <a:pt x="0" y="225970"/>
                  <a:pt x="225970" y="0"/>
                  <a:pt x="504719" y="0"/>
                </a:cubicBezTo>
                <a:close/>
              </a:path>
            </a:pathLst>
          </a:custGeom>
          <a:solidFill>
            <a:schemeClr val="bg1">
              <a:lumMod val="95000"/>
            </a:schemeClr>
          </a:solidFill>
          <a:ln w="38100">
            <a:noFill/>
          </a:ln>
        </p:spPr>
        <p:txBody>
          <a:bodyPr wrap="square">
            <a:noAutofit/>
          </a:bodyPr>
          <a:lstStyle>
            <a:lvl1pPr algn="ctr">
              <a:defRPr sz="1200">
                <a:solidFill>
                  <a:schemeClr val="tx1"/>
                </a:solidFill>
              </a:defRPr>
            </a:lvl1pPr>
          </a:lstStyle>
          <a:p>
            <a:endParaRPr lang="en-US" dirty="0"/>
          </a:p>
        </p:txBody>
      </p:sp>
      <p:sp>
        <p:nvSpPr>
          <p:cNvPr id="40" name="Picture Placeholder 39"/>
          <p:cNvSpPr>
            <a:spLocks noGrp="1"/>
          </p:cNvSpPr>
          <p:nvPr>
            <p:ph type="pic" sz="quarter" idx="15"/>
          </p:nvPr>
        </p:nvSpPr>
        <p:spPr>
          <a:xfrm>
            <a:off x="3379130" y="4631919"/>
            <a:ext cx="1009438" cy="1009438"/>
          </a:xfrm>
          <a:custGeom>
            <a:avLst/>
            <a:gdLst>
              <a:gd name="connsiteX0" fmla="*/ 504719 w 1009438"/>
              <a:gd name="connsiteY0" fmla="*/ 0 h 1009438"/>
              <a:gd name="connsiteX1" fmla="*/ 1009438 w 1009438"/>
              <a:gd name="connsiteY1" fmla="*/ 504719 h 1009438"/>
              <a:gd name="connsiteX2" fmla="*/ 504719 w 1009438"/>
              <a:gd name="connsiteY2" fmla="*/ 1009438 h 1009438"/>
              <a:gd name="connsiteX3" fmla="*/ 0 w 1009438"/>
              <a:gd name="connsiteY3" fmla="*/ 504719 h 1009438"/>
              <a:gd name="connsiteX4" fmla="*/ 504719 w 1009438"/>
              <a:gd name="connsiteY4" fmla="*/ 0 h 1009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438" h="1009438">
                <a:moveTo>
                  <a:pt x="504719" y="0"/>
                </a:moveTo>
                <a:cubicBezTo>
                  <a:pt x="783468" y="0"/>
                  <a:pt x="1009438" y="225970"/>
                  <a:pt x="1009438" y="504719"/>
                </a:cubicBezTo>
                <a:cubicBezTo>
                  <a:pt x="1009438" y="783468"/>
                  <a:pt x="783468" y="1009438"/>
                  <a:pt x="504719" y="1009438"/>
                </a:cubicBezTo>
                <a:cubicBezTo>
                  <a:pt x="225970" y="1009438"/>
                  <a:pt x="0" y="783468"/>
                  <a:pt x="0" y="504719"/>
                </a:cubicBezTo>
                <a:cubicBezTo>
                  <a:pt x="0" y="225970"/>
                  <a:pt x="225970" y="0"/>
                  <a:pt x="504719" y="0"/>
                </a:cubicBezTo>
                <a:close/>
              </a:path>
            </a:pathLst>
          </a:custGeom>
          <a:solidFill>
            <a:schemeClr val="bg1">
              <a:lumMod val="95000"/>
            </a:schemeClr>
          </a:solidFill>
          <a:ln w="38100">
            <a:noFill/>
          </a:ln>
        </p:spPr>
        <p:txBody>
          <a:bodyPr wrap="square">
            <a:noAutofit/>
          </a:bodyPr>
          <a:lstStyle>
            <a:lvl1pPr algn="ctr">
              <a:defRPr sz="1200">
                <a:solidFill>
                  <a:schemeClr val="tx1"/>
                </a:solidFill>
              </a:defRPr>
            </a:lvl1pPr>
          </a:lstStyle>
          <a:p>
            <a:endParaRPr lang="en-US" dirty="0"/>
          </a:p>
        </p:txBody>
      </p:sp>
      <p:sp>
        <p:nvSpPr>
          <p:cNvPr id="39" name="Picture Placeholder 38"/>
          <p:cNvSpPr>
            <a:spLocks noGrp="1"/>
          </p:cNvSpPr>
          <p:nvPr>
            <p:ph type="pic" sz="quarter" idx="16"/>
          </p:nvPr>
        </p:nvSpPr>
        <p:spPr>
          <a:xfrm>
            <a:off x="5530008" y="4073236"/>
            <a:ext cx="1119688" cy="1119688"/>
          </a:xfrm>
          <a:custGeom>
            <a:avLst/>
            <a:gdLst>
              <a:gd name="connsiteX0" fmla="*/ 559844 w 1119688"/>
              <a:gd name="connsiteY0" fmla="*/ 0 h 1119688"/>
              <a:gd name="connsiteX1" fmla="*/ 1119688 w 1119688"/>
              <a:gd name="connsiteY1" fmla="*/ 559844 h 1119688"/>
              <a:gd name="connsiteX2" fmla="*/ 559844 w 1119688"/>
              <a:gd name="connsiteY2" fmla="*/ 1119688 h 1119688"/>
              <a:gd name="connsiteX3" fmla="*/ 0 w 1119688"/>
              <a:gd name="connsiteY3" fmla="*/ 559844 h 1119688"/>
              <a:gd name="connsiteX4" fmla="*/ 559844 w 1119688"/>
              <a:gd name="connsiteY4" fmla="*/ 0 h 111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688" h="1119688">
                <a:moveTo>
                  <a:pt x="559844" y="0"/>
                </a:moveTo>
                <a:cubicBezTo>
                  <a:pt x="869037" y="0"/>
                  <a:pt x="1119688" y="250651"/>
                  <a:pt x="1119688" y="559844"/>
                </a:cubicBezTo>
                <a:cubicBezTo>
                  <a:pt x="1119688" y="869037"/>
                  <a:pt x="869037" y="1119688"/>
                  <a:pt x="559844" y="1119688"/>
                </a:cubicBezTo>
                <a:cubicBezTo>
                  <a:pt x="250651" y="1119688"/>
                  <a:pt x="0" y="869037"/>
                  <a:pt x="0" y="559844"/>
                </a:cubicBezTo>
                <a:cubicBezTo>
                  <a:pt x="0" y="250651"/>
                  <a:pt x="250651" y="0"/>
                  <a:pt x="559844" y="0"/>
                </a:cubicBezTo>
                <a:close/>
              </a:path>
            </a:pathLst>
          </a:custGeom>
          <a:solidFill>
            <a:schemeClr val="bg1">
              <a:lumMod val="95000"/>
            </a:schemeClr>
          </a:solidFill>
          <a:ln w="38100">
            <a:noFill/>
          </a:ln>
        </p:spPr>
        <p:txBody>
          <a:bodyPr wrap="square">
            <a:noAutofit/>
          </a:bodyPr>
          <a:lstStyle>
            <a:lvl1pPr algn="ctr">
              <a:defRPr sz="1200">
                <a:solidFill>
                  <a:schemeClr val="tx1"/>
                </a:solidFill>
              </a:defRPr>
            </a:lvl1pPr>
          </a:lstStyle>
          <a:p>
            <a:endParaRPr lang="en-US" dirty="0"/>
          </a:p>
        </p:txBody>
      </p:sp>
      <p:sp>
        <p:nvSpPr>
          <p:cNvPr id="38" name="Picture Placeholder 37"/>
          <p:cNvSpPr>
            <a:spLocks noGrp="1"/>
          </p:cNvSpPr>
          <p:nvPr>
            <p:ph type="pic" sz="quarter" idx="17"/>
          </p:nvPr>
        </p:nvSpPr>
        <p:spPr>
          <a:xfrm>
            <a:off x="7780050" y="4595541"/>
            <a:ext cx="1009438" cy="1009438"/>
          </a:xfrm>
          <a:custGeom>
            <a:avLst/>
            <a:gdLst>
              <a:gd name="connsiteX0" fmla="*/ 504719 w 1009438"/>
              <a:gd name="connsiteY0" fmla="*/ 0 h 1009438"/>
              <a:gd name="connsiteX1" fmla="*/ 1009438 w 1009438"/>
              <a:gd name="connsiteY1" fmla="*/ 504719 h 1009438"/>
              <a:gd name="connsiteX2" fmla="*/ 504719 w 1009438"/>
              <a:gd name="connsiteY2" fmla="*/ 1009438 h 1009438"/>
              <a:gd name="connsiteX3" fmla="*/ 0 w 1009438"/>
              <a:gd name="connsiteY3" fmla="*/ 504719 h 1009438"/>
              <a:gd name="connsiteX4" fmla="*/ 504719 w 1009438"/>
              <a:gd name="connsiteY4" fmla="*/ 0 h 1009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438" h="1009438">
                <a:moveTo>
                  <a:pt x="504719" y="0"/>
                </a:moveTo>
                <a:cubicBezTo>
                  <a:pt x="783468" y="0"/>
                  <a:pt x="1009438" y="225970"/>
                  <a:pt x="1009438" y="504719"/>
                </a:cubicBezTo>
                <a:cubicBezTo>
                  <a:pt x="1009438" y="783468"/>
                  <a:pt x="783468" y="1009438"/>
                  <a:pt x="504719" y="1009438"/>
                </a:cubicBezTo>
                <a:cubicBezTo>
                  <a:pt x="225970" y="1009438"/>
                  <a:pt x="0" y="783468"/>
                  <a:pt x="0" y="504719"/>
                </a:cubicBezTo>
                <a:cubicBezTo>
                  <a:pt x="0" y="225970"/>
                  <a:pt x="225970" y="0"/>
                  <a:pt x="504719" y="0"/>
                </a:cubicBezTo>
                <a:close/>
              </a:path>
            </a:pathLst>
          </a:custGeom>
          <a:solidFill>
            <a:schemeClr val="bg1">
              <a:lumMod val="95000"/>
            </a:schemeClr>
          </a:solidFill>
          <a:ln w="38100">
            <a:noFill/>
          </a:ln>
        </p:spPr>
        <p:txBody>
          <a:bodyPr wrap="square">
            <a:noAutofit/>
          </a:bodyPr>
          <a:lstStyle>
            <a:lvl1pPr algn="ctr">
              <a:defRPr sz="1200">
                <a:solidFill>
                  <a:schemeClr val="tx1"/>
                </a:solidFill>
              </a:defRPr>
            </a:lvl1pPr>
          </a:lstStyle>
          <a:p>
            <a:endParaRPr lang="en-US" dirty="0"/>
          </a:p>
        </p:txBody>
      </p:sp>
      <p:sp>
        <p:nvSpPr>
          <p:cNvPr id="37" name="Picture Placeholder 36"/>
          <p:cNvSpPr>
            <a:spLocks noGrp="1"/>
          </p:cNvSpPr>
          <p:nvPr>
            <p:ph type="pic" sz="quarter" idx="18"/>
          </p:nvPr>
        </p:nvSpPr>
        <p:spPr>
          <a:xfrm>
            <a:off x="9143962" y="4615129"/>
            <a:ext cx="1009438" cy="1009438"/>
          </a:xfrm>
          <a:custGeom>
            <a:avLst/>
            <a:gdLst>
              <a:gd name="connsiteX0" fmla="*/ 504719 w 1009438"/>
              <a:gd name="connsiteY0" fmla="*/ 0 h 1009438"/>
              <a:gd name="connsiteX1" fmla="*/ 1009438 w 1009438"/>
              <a:gd name="connsiteY1" fmla="*/ 504719 h 1009438"/>
              <a:gd name="connsiteX2" fmla="*/ 504719 w 1009438"/>
              <a:gd name="connsiteY2" fmla="*/ 1009438 h 1009438"/>
              <a:gd name="connsiteX3" fmla="*/ 0 w 1009438"/>
              <a:gd name="connsiteY3" fmla="*/ 504719 h 1009438"/>
              <a:gd name="connsiteX4" fmla="*/ 504719 w 1009438"/>
              <a:gd name="connsiteY4" fmla="*/ 0 h 1009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438" h="1009438">
                <a:moveTo>
                  <a:pt x="504719" y="0"/>
                </a:moveTo>
                <a:cubicBezTo>
                  <a:pt x="783468" y="0"/>
                  <a:pt x="1009438" y="225970"/>
                  <a:pt x="1009438" y="504719"/>
                </a:cubicBezTo>
                <a:cubicBezTo>
                  <a:pt x="1009438" y="783468"/>
                  <a:pt x="783468" y="1009438"/>
                  <a:pt x="504719" y="1009438"/>
                </a:cubicBezTo>
                <a:cubicBezTo>
                  <a:pt x="225970" y="1009438"/>
                  <a:pt x="0" y="783468"/>
                  <a:pt x="0" y="504719"/>
                </a:cubicBezTo>
                <a:cubicBezTo>
                  <a:pt x="0" y="225970"/>
                  <a:pt x="225970" y="0"/>
                  <a:pt x="504719" y="0"/>
                </a:cubicBezTo>
                <a:close/>
              </a:path>
            </a:pathLst>
          </a:custGeom>
          <a:solidFill>
            <a:schemeClr val="bg1">
              <a:lumMod val="95000"/>
            </a:schemeClr>
          </a:solidFill>
          <a:ln w="38100">
            <a:noFill/>
          </a:ln>
        </p:spPr>
        <p:txBody>
          <a:bodyPr wrap="square">
            <a:noAutofit/>
          </a:bodyPr>
          <a:lstStyle>
            <a:lvl1pPr algn="ctr">
              <a:defRPr sz="1200">
                <a:solidFill>
                  <a:schemeClr val="tx1"/>
                </a:solidFill>
              </a:defRPr>
            </a:lvl1pPr>
          </a:lstStyle>
          <a:p>
            <a:endParaRPr lang="en-US" dirty="0"/>
          </a:p>
        </p:txBody>
      </p:sp>
      <p:sp>
        <p:nvSpPr>
          <p:cNvPr id="36" name="Picture Placeholder 35"/>
          <p:cNvSpPr>
            <a:spLocks noGrp="1"/>
          </p:cNvSpPr>
          <p:nvPr>
            <p:ph type="pic" sz="quarter" idx="19"/>
          </p:nvPr>
        </p:nvSpPr>
        <p:spPr>
          <a:xfrm>
            <a:off x="10464395" y="4633672"/>
            <a:ext cx="1009438" cy="1009438"/>
          </a:xfrm>
          <a:custGeom>
            <a:avLst/>
            <a:gdLst>
              <a:gd name="connsiteX0" fmla="*/ 504719 w 1009438"/>
              <a:gd name="connsiteY0" fmla="*/ 0 h 1009438"/>
              <a:gd name="connsiteX1" fmla="*/ 1009438 w 1009438"/>
              <a:gd name="connsiteY1" fmla="*/ 504719 h 1009438"/>
              <a:gd name="connsiteX2" fmla="*/ 504719 w 1009438"/>
              <a:gd name="connsiteY2" fmla="*/ 1009438 h 1009438"/>
              <a:gd name="connsiteX3" fmla="*/ 0 w 1009438"/>
              <a:gd name="connsiteY3" fmla="*/ 504719 h 1009438"/>
              <a:gd name="connsiteX4" fmla="*/ 504719 w 1009438"/>
              <a:gd name="connsiteY4" fmla="*/ 0 h 1009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438" h="1009438">
                <a:moveTo>
                  <a:pt x="504719" y="0"/>
                </a:moveTo>
                <a:cubicBezTo>
                  <a:pt x="783468" y="0"/>
                  <a:pt x="1009438" y="225970"/>
                  <a:pt x="1009438" y="504719"/>
                </a:cubicBezTo>
                <a:cubicBezTo>
                  <a:pt x="1009438" y="783468"/>
                  <a:pt x="783468" y="1009438"/>
                  <a:pt x="504719" y="1009438"/>
                </a:cubicBezTo>
                <a:cubicBezTo>
                  <a:pt x="225970" y="1009438"/>
                  <a:pt x="0" y="783468"/>
                  <a:pt x="0" y="504719"/>
                </a:cubicBezTo>
                <a:cubicBezTo>
                  <a:pt x="0" y="225970"/>
                  <a:pt x="225970" y="0"/>
                  <a:pt x="504719" y="0"/>
                </a:cubicBezTo>
                <a:close/>
              </a:path>
            </a:pathLst>
          </a:custGeom>
          <a:solidFill>
            <a:schemeClr val="bg1">
              <a:lumMod val="95000"/>
            </a:schemeClr>
          </a:solidFill>
          <a:ln w="38100">
            <a:noFill/>
          </a:ln>
        </p:spPr>
        <p:txBody>
          <a:bodyPr wrap="square">
            <a:noAutofit/>
          </a:bodyPr>
          <a:lstStyle>
            <a:lvl1pPr algn="ctr">
              <a:defRPr sz="1200">
                <a:solidFill>
                  <a:schemeClr val="tx1"/>
                </a:solidFill>
              </a:defRPr>
            </a:lvl1pPr>
          </a:lstStyle>
          <a:p>
            <a:endParaRPr lang="en-US" dirty="0"/>
          </a:p>
        </p:txBody>
      </p:sp>
      <p:sp>
        <p:nvSpPr>
          <p:cNvPr id="35" name="Picture Placeholder 34"/>
          <p:cNvSpPr>
            <a:spLocks noGrp="1"/>
          </p:cNvSpPr>
          <p:nvPr>
            <p:ph type="pic" sz="quarter" idx="20"/>
          </p:nvPr>
        </p:nvSpPr>
        <p:spPr>
          <a:xfrm>
            <a:off x="9122899" y="2350012"/>
            <a:ext cx="1119688" cy="1119688"/>
          </a:xfrm>
          <a:custGeom>
            <a:avLst/>
            <a:gdLst>
              <a:gd name="connsiteX0" fmla="*/ 559844 w 1119688"/>
              <a:gd name="connsiteY0" fmla="*/ 0 h 1119688"/>
              <a:gd name="connsiteX1" fmla="*/ 1119688 w 1119688"/>
              <a:gd name="connsiteY1" fmla="*/ 559844 h 1119688"/>
              <a:gd name="connsiteX2" fmla="*/ 559844 w 1119688"/>
              <a:gd name="connsiteY2" fmla="*/ 1119688 h 1119688"/>
              <a:gd name="connsiteX3" fmla="*/ 0 w 1119688"/>
              <a:gd name="connsiteY3" fmla="*/ 559844 h 1119688"/>
              <a:gd name="connsiteX4" fmla="*/ 559844 w 1119688"/>
              <a:gd name="connsiteY4" fmla="*/ 0 h 111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688" h="1119688">
                <a:moveTo>
                  <a:pt x="559844" y="0"/>
                </a:moveTo>
                <a:cubicBezTo>
                  <a:pt x="869037" y="0"/>
                  <a:pt x="1119688" y="250651"/>
                  <a:pt x="1119688" y="559844"/>
                </a:cubicBezTo>
                <a:cubicBezTo>
                  <a:pt x="1119688" y="869037"/>
                  <a:pt x="869037" y="1119688"/>
                  <a:pt x="559844" y="1119688"/>
                </a:cubicBezTo>
                <a:cubicBezTo>
                  <a:pt x="250651" y="1119688"/>
                  <a:pt x="0" y="869037"/>
                  <a:pt x="0" y="559844"/>
                </a:cubicBezTo>
                <a:cubicBezTo>
                  <a:pt x="0" y="250651"/>
                  <a:pt x="250651" y="0"/>
                  <a:pt x="559844" y="0"/>
                </a:cubicBezTo>
                <a:close/>
              </a:path>
            </a:pathLst>
          </a:custGeom>
          <a:solidFill>
            <a:schemeClr val="bg1">
              <a:lumMod val="95000"/>
            </a:schemeClr>
          </a:solidFill>
          <a:ln w="38100">
            <a:noFill/>
          </a:ln>
        </p:spPr>
        <p:txBody>
          <a:bodyPr wrap="square">
            <a:noAutofit/>
          </a:bodyPr>
          <a:lstStyle>
            <a:lvl1pPr algn="ctr">
              <a:defRPr sz="1200">
                <a:solidFill>
                  <a:schemeClr val="tx1"/>
                </a:solidFill>
              </a:defRPr>
            </a:lvl1pPr>
          </a:lstStyle>
          <a:p>
            <a:endParaRPr lang="en-US" dirty="0"/>
          </a:p>
        </p:txBody>
      </p:sp>
      <p:sp>
        <p:nvSpPr>
          <p:cNvPr id="34" name="Picture Placeholder 33"/>
          <p:cNvSpPr>
            <a:spLocks noGrp="1"/>
          </p:cNvSpPr>
          <p:nvPr>
            <p:ph type="pic" sz="quarter" idx="21"/>
          </p:nvPr>
        </p:nvSpPr>
        <p:spPr>
          <a:xfrm>
            <a:off x="7382886" y="2355385"/>
            <a:ext cx="1119688" cy="1119688"/>
          </a:xfrm>
          <a:custGeom>
            <a:avLst/>
            <a:gdLst>
              <a:gd name="connsiteX0" fmla="*/ 559844 w 1119688"/>
              <a:gd name="connsiteY0" fmla="*/ 0 h 1119688"/>
              <a:gd name="connsiteX1" fmla="*/ 1119688 w 1119688"/>
              <a:gd name="connsiteY1" fmla="*/ 559844 h 1119688"/>
              <a:gd name="connsiteX2" fmla="*/ 559844 w 1119688"/>
              <a:gd name="connsiteY2" fmla="*/ 1119688 h 1119688"/>
              <a:gd name="connsiteX3" fmla="*/ 0 w 1119688"/>
              <a:gd name="connsiteY3" fmla="*/ 559844 h 1119688"/>
              <a:gd name="connsiteX4" fmla="*/ 559844 w 1119688"/>
              <a:gd name="connsiteY4" fmla="*/ 0 h 111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688" h="1119688">
                <a:moveTo>
                  <a:pt x="559844" y="0"/>
                </a:moveTo>
                <a:cubicBezTo>
                  <a:pt x="869037" y="0"/>
                  <a:pt x="1119688" y="250651"/>
                  <a:pt x="1119688" y="559844"/>
                </a:cubicBezTo>
                <a:cubicBezTo>
                  <a:pt x="1119688" y="869037"/>
                  <a:pt x="869037" y="1119688"/>
                  <a:pt x="559844" y="1119688"/>
                </a:cubicBezTo>
                <a:cubicBezTo>
                  <a:pt x="250651" y="1119688"/>
                  <a:pt x="0" y="869037"/>
                  <a:pt x="0" y="559844"/>
                </a:cubicBezTo>
                <a:cubicBezTo>
                  <a:pt x="0" y="250651"/>
                  <a:pt x="250651" y="0"/>
                  <a:pt x="559844" y="0"/>
                </a:cubicBezTo>
                <a:close/>
              </a:path>
            </a:pathLst>
          </a:custGeom>
          <a:solidFill>
            <a:schemeClr val="bg1">
              <a:lumMod val="95000"/>
            </a:schemeClr>
          </a:solidFill>
          <a:ln w="38100">
            <a:noFill/>
          </a:ln>
        </p:spPr>
        <p:txBody>
          <a:bodyPr wrap="square">
            <a:noAutofit/>
          </a:bodyPr>
          <a:lstStyle>
            <a:lvl1pPr algn="ctr">
              <a:defRPr sz="1200">
                <a:solidFill>
                  <a:schemeClr val="tx1"/>
                </a:solidFill>
              </a:defRPr>
            </a:lvl1pPr>
          </a:lstStyle>
          <a:p>
            <a:endParaRPr lang="en-US" dirty="0"/>
          </a:p>
        </p:txBody>
      </p:sp>
    </p:spTree>
    <p:extLst>
      <p:ext uri="{BB962C8B-B14F-4D97-AF65-F5344CB8AC3E}">
        <p14:creationId xmlns:p14="http://schemas.microsoft.com/office/powerpoint/2010/main" val="24798319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BAB66-43D7-4D23-B676-3B1F62B95C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C5DFD13-593F-4B83-B497-E82949CEC2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BE2FBD2-BE5D-42C6-9063-318435C8F413}"/>
              </a:ext>
            </a:extLst>
          </p:cNvPr>
          <p:cNvSpPr>
            <a:spLocks noGrp="1"/>
          </p:cNvSpPr>
          <p:nvPr>
            <p:ph type="dt" sz="half" idx="10"/>
          </p:nvPr>
        </p:nvSpPr>
        <p:spPr/>
        <p:txBody>
          <a:bodyPr/>
          <a:lstStyle/>
          <a:p>
            <a:fld id="{16A2DCC4-E297-40E3-9363-8C1211D6283D}" type="datetime1">
              <a:rPr lang="en-GB" smtClean="0"/>
              <a:t>25/12/2023</a:t>
            </a:fld>
            <a:endParaRPr lang="en-GB"/>
          </a:p>
        </p:txBody>
      </p:sp>
      <p:sp>
        <p:nvSpPr>
          <p:cNvPr id="5" name="Footer Placeholder 4">
            <a:extLst>
              <a:ext uri="{FF2B5EF4-FFF2-40B4-BE49-F238E27FC236}">
                <a16:creationId xmlns:a16="http://schemas.microsoft.com/office/drawing/2014/main" id="{AC15C7C9-BEB0-4112-AEC8-6EB11104A629}"/>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799478A4-C7D0-44D5-96C0-5C78B61778C6}"/>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42682738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995F1-1CED-4DD8-AD2E-58EE0A2F91B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8CCB06D-6A7F-4D8A-9A75-6E04102E3B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A1EE858-AFF7-4F91-9D63-FDA705E140A0}"/>
              </a:ext>
            </a:extLst>
          </p:cNvPr>
          <p:cNvSpPr>
            <a:spLocks noGrp="1"/>
          </p:cNvSpPr>
          <p:nvPr>
            <p:ph type="dt" sz="half" idx="10"/>
          </p:nvPr>
        </p:nvSpPr>
        <p:spPr/>
        <p:txBody>
          <a:bodyPr/>
          <a:lstStyle/>
          <a:p>
            <a:fld id="{4492F0E1-09B2-4347-B90A-16DF82B5B159}" type="datetime1">
              <a:rPr lang="en-GB" smtClean="0"/>
              <a:t>25/12/2023</a:t>
            </a:fld>
            <a:endParaRPr lang="en-GB"/>
          </a:p>
        </p:txBody>
      </p:sp>
      <p:sp>
        <p:nvSpPr>
          <p:cNvPr id="5" name="Footer Placeholder 4">
            <a:extLst>
              <a:ext uri="{FF2B5EF4-FFF2-40B4-BE49-F238E27FC236}">
                <a16:creationId xmlns:a16="http://schemas.microsoft.com/office/drawing/2014/main" id="{3A6138B3-09A7-4D12-B016-A2767CF6C915}"/>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E6B18A36-21BF-433A-9BB2-C025FC6C5280}"/>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4226306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F0E74E-14F0-42A5-89DF-4ACBE58566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22A29AE-5DA4-4C8E-B867-B56674BE5E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8D91B3-268F-4029-BC99-C51C6E10FBCB}"/>
              </a:ext>
            </a:extLst>
          </p:cNvPr>
          <p:cNvSpPr>
            <a:spLocks noGrp="1"/>
          </p:cNvSpPr>
          <p:nvPr>
            <p:ph type="dt" sz="half" idx="10"/>
          </p:nvPr>
        </p:nvSpPr>
        <p:spPr/>
        <p:txBody>
          <a:bodyPr/>
          <a:lstStyle/>
          <a:p>
            <a:fld id="{4A2A9D70-71BE-413B-9A94-1D62B209CBF2}" type="datetime1">
              <a:rPr lang="en-GB" smtClean="0"/>
              <a:t>25/12/2023</a:t>
            </a:fld>
            <a:endParaRPr lang="en-GB"/>
          </a:p>
        </p:txBody>
      </p:sp>
      <p:sp>
        <p:nvSpPr>
          <p:cNvPr id="5" name="Footer Placeholder 4">
            <a:extLst>
              <a:ext uri="{FF2B5EF4-FFF2-40B4-BE49-F238E27FC236}">
                <a16:creationId xmlns:a16="http://schemas.microsoft.com/office/drawing/2014/main" id="{8C4D77BE-4624-4A56-B086-4045189DEBC3}"/>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FBF79468-FB5C-439C-9F18-14E715D8DBE5}"/>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5315267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B21D5-5F4E-4FBF-91B8-277D184BF7F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FBB9242-EF46-44C3-8BAF-4624DF25D5F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F818917-D53E-412C-9BFF-26E4F115E5A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73C1413-D502-4387-84CC-3BE06650C71E}"/>
              </a:ext>
            </a:extLst>
          </p:cNvPr>
          <p:cNvSpPr>
            <a:spLocks noGrp="1"/>
          </p:cNvSpPr>
          <p:nvPr>
            <p:ph type="dt" sz="half" idx="10"/>
          </p:nvPr>
        </p:nvSpPr>
        <p:spPr/>
        <p:txBody>
          <a:bodyPr/>
          <a:lstStyle/>
          <a:p>
            <a:fld id="{E813EF1E-AB06-4AB1-A7BB-E01EFF7DE3F7}" type="datetime1">
              <a:rPr lang="en-GB" smtClean="0"/>
              <a:t>25/12/2023</a:t>
            </a:fld>
            <a:endParaRPr lang="en-GB"/>
          </a:p>
        </p:txBody>
      </p:sp>
      <p:sp>
        <p:nvSpPr>
          <p:cNvPr id="6" name="Footer Placeholder 5">
            <a:extLst>
              <a:ext uri="{FF2B5EF4-FFF2-40B4-BE49-F238E27FC236}">
                <a16:creationId xmlns:a16="http://schemas.microsoft.com/office/drawing/2014/main" id="{BA216A0B-F011-4551-8626-1F699804806B}"/>
              </a:ext>
            </a:extLst>
          </p:cNvPr>
          <p:cNvSpPr>
            <a:spLocks noGrp="1"/>
          </p:cNvSpPr>
          <p:nvPr>
            <p:ph type="ftr" sz="quarter" idx="11"/>
          </p:nvPr>
        </p:nvSpPr>
        <p:spPr/>
        <p:txBody>
          <a:bodyPr/>
          <a:lstStyle/>
          <a:p>
            <a:r>
              <a:rPr lang="en-GB"/>
              <a:t>Pricing Strategies 70.7015</a:t>
            </a:r>
          </a:p>
        </p:txBody>
      </p:sp>
      <p:sp>
        <p:nvSpPr>
          <p:cNvPr id="7" name="Slide Number Placeholder 6">
            <a:extLst>
              <a:ext uri="{FF2B5EF4-FFF2-40B4-BE49-F238E27FC236}">
                <a16:creationId xmlns:a16="http://schemas.microsoft.com/office/drawing/2014/main" id="{20A071EC-D367-4D8B-BD87-4EAB2693E3B2}"/>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6991617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C2319-FDBD-499C-A4FE-6F66309B7CA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D9F503D-4021-4B8D-ADF3-FFC595A3A0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2B34918-916B-4409-A45D-4FB758F5018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A014920-9F26-48C8-9C13-E8D8EED711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5C5FCB1-BCE2-4B08-97E1-1D4E5124FFB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1E80249-AF98-4DAC-AA3E-30563F0FC4B3}"/>
              </a:ext>
            </a:extLst>
          </p:cNvPr>
          <p:cNvSpPr>
            <a:spLocks noGrp="1"/>
          </p:cNvSpPr>
          <p:nvPr>
            <p:ph type="dt" sz="half" idx="10"/>
          </p:nvPr>
        </p:nvSpPr>
        <p:spPr/>
        <p:txBody>
          <a:bodyPr/>
          <a:lstStyle/>
          <a:p>
            <a:fld id="{488025D8-9963-41BD-A50A-5D3F3296CDB4}" type="datetime1">
              <a:rPr lang="en-GB" smtClean="0"/>
              <a:t>25/12/2023</a:t>
            </a:fld>
            <a:endParaRPr lang="en-GB"/>
          </a:p>
        </p:txBody>
      </p:sp>
      <p:sp>
        <p:nvSpPr>
          <p:cNvPr id="8" name="Footer Placeholder 7">
            <a:extLst>
              <a:ext uri="{FF2B5EF4-FFF2-40B4-BE49-F238E27FC236}">
                <a16:creationId xmlns:a16="http://schemas.microsoft.com/office/drawing/2014/main" id="{B9771338-D11F-46C2-8221-D6AB69222751}"/>
              </a:ext>
            </a:extLst>
          </p:cNvPr>
          <p:cNvSpPr>
            <a:spLocks noGrp="1"/>
          </p:cNvSpPr>
          <p:nvPr>
            <p:ph type="ftr" sz="quarter" idx="11"/>
          </p:nvPr>
        </p:nvSpPr>
        <p:spPr/>
        <p:txBody>
          <a:bodyPr/>
          <a:lstStyle/>
          <a:p>
            <a:r>
              <a:rPr lang="en-GB"/>
              <a:t>Pricing Strategies 70.7015</a:t>
            </a:r>
          </a:p>
        </p:txBody>
      </p:sp>
      <p:sp>
        <p:nvSpPr>
          <p:cNvPr id="9" name="Slide Number Placeholder 8">
            <a:extLst>
              <a:ext uri="{FF2B5EF4-FFF2-40B4-BE49-F238E27FC236}">
                <a16:creationId xmlns:a16="http://schemas.microsoft.com/office/drawing/2014/main" id="{EF102E98-CCB7-485C-9025-A69C3F7488E4}"/>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40144565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832F-EE78-4931-9318-B772FC2C81A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4F495A5-6049-4B3C-9D26-75D3050F46F3}"/>
              </a:ext>
            </a:extLst>
          </p:cNvPr>
          <p:cNvSpPr>
            <a:spLocks noGrp="1"/>
          </p:cNvSpPr>
          <p:nvPr>
            <p:ph type="dt" sz="half" idx="10"/>
          </p:nvPr>
        </p:nvSpPr>
        <p:spPr/>
        <p:txBody>
          <a:bodyPr/>
          <a:lstStyle/>
          <a:p>
            <a:fld id="{F18924DF-5432-4AA0-B4F0-4E2FB2732819}" type="datetime1">
              <a:rPr lang="en-GB" smtClean="0"/>
              <a:t>25/12/2023</a:t>
            </a:fld>
            <a:endParaRPr lang="en-GB"/>
          </a:p>
        </p:txBody>
      </p:sp>
      <p:sp>
        <p:nvSpPr>
          <p:cNvPr id="4" name="Footer Placeholder 3">
            <a:extLst>
              <a:ext uri="{FF2B5EF4-FFF2-40B4-BE49-F238E27FC236}">
                <a16:creationId xmlns:a16="http://schemas.microsoft.com/office/drawing/2014/main" id="{F8B75A9D-2115-4D35-A22D-6573DCB11424}"/>
              </a:ext>
            </a:extLst>
          </p:cNvPr>
          <p:cNvSpPr>
            <a:spLocks noGrp="1"/>
          </p:cNvSpPr>
          <p:nvPr>
            <p:ph type="ftr" sz="quarter" idx="11"/>
          </p:nvPr>
        </p:nvSpPr>
        <p:spPr/>
        <p:txBody>
          <a:bodyPr/>
          <a:lstStyle/>
          <a:p>
            <a:r>
              <a:rPr lang="en-GB"/>
              <a:t>Pricing Strategies 70.7015</a:t>
            </a:r>
          </a:p>
        </p:txBody>
      </p:sp>
      <p:sp>
        <p:nvSpPr>
          <p:cNvPr id="5" name="Slide Number Placeholder 4">
            <a:extLst>
              <a:ext uri="{FF2B5EF4-FFF2-40B4-BE49-F238E27FC236}">
                <a16:creationId xmlns:a16="http://schemas.microsoft.com/office/drawing/2014/main" id="{BF5AEDF6-E8E9-4FEA-8A80-F0ED59C5315F}"/>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4533028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50AADADE-EAD0-4277-84DB-90E9D597ECDC}" type="datetime1">
              <a:rPr lang="en-GB" smtClean="0"/>
              <a:t>25/12/2023</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Pricing Strategies 70.7015</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
        <p:nvSpPr>
          <p:cNvPr id="6" name="Title 1">
            <a:extLst>
              <a:ext uri="{FF2B5EF4-FFF2-40B4-BE49-F238E27FC236}">
                <a16:creationId xmlns:a16="http://schemas.microsoft.com/office/drawing/2014/main" id="{B7DDF1C1-446B-4596-8FEC-4642E44B77F0}"/>
              </a:ext>
            </a:extLst>
          </p:cNvPr>
          <p:cNvSpPr txBox="1">
            <a:spLocks/>
          </p:cNvSpPr>
          <p:nvPr userDrawn="1"/>
        </p:nvSpPr>
        <p:spPr>
          <a:xfrm>
            <a:off x="9448800" y="0"/>
            <a:ext cx="27432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000" kern="1200">
                <a:solidFill>
                  <a:schemeClr val="tx1"/>
                </a:solidFill>
                <a:latin typeface="+mj-lt"/>
                <a:ea typeface="+mj-ea"/>
                <a:cs typeface="+mj-cs"/>
              </a:defRPr>
            </a:lvl1pPr>
          </a:lstStyle>
          <a:p>
            <a:endParaRPr lang="en-GB" dirty="0"/>
          </a:p>
        </p:txBody>
      </p:sp>
    </p:spTree>
    <p:extLst>
      <p:ext uri="{BB962C8B-B14F-4D97-AF65-F5344CB8AC3E}">
        <p14:creationId xmlns:p14="http://schemas.microsoft.com/office/powerpoint/2010/main" val="16868707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29E27F9-69DF-424C-876F-05881921F1EE}"/>
              </a:ext>
            </a:extLst>
          </p:cNvPr>
          <p:cNvSpPr>
            <a:spLocks noGrp="1"/>
          </p:cNvSpPr>
          <p:nvPr>
            <p:ph type="dt" sz="half" idx="10"/>
          </p:nvPr>
        </p:nvSpPr>
        <p:spPr/>
        <p:txBody>
          <a:bodyPr/>
          <a:lstStyle/>
          <a:p>
            <a:fld id="{80F7EC3E-B6B0-49E2-B928-9EA43318526D}" type="datetime1">
              <a:rPr lang="en-GB" smtClean="0"/>
              <a:t>25/12/2023</a:t>
            </a:fld>
            <a:endParaRPr lang="en-GB"/>
          </a:p>
        </p:txBody>
      </p:sp>
      <p:sp>
        <p:nvSpPr>
          <p:cNvPr id="4" name="Footer Placeholder 3">
            <a:extLst>
              <a:ext uri="{FF2B5EF4-FFF2-40B4-BE49-F238E27FC236}">
                <a16:creationId xmlns:a16="http://schemas.microsoft.com/office/drawing/2014/main" id="{C4DC8212-8094-49DC-9E28-1E402AA2450B}"/>
              </a:ext>
            </a:extLst>
          </p:cNvPr>
          <p:cNvSpPr>
            <a:spLocks noGrp="1"/>
          </p:cNvSpPr>
          <p:nvPr>
            <p:ph type="ftr" sz="quarter" idx="11"/>
          </p:nvPr>
        </p:nvSpPr>
        <p:spPr/>
        <p:txBody>
          <a:bodyPr/>
          <a:lstStyle/>
          <a:p>
            <a:r>
              <a:rPr lang="en-GB"/>
              <a:t>Pricing Strategies 70.7015</a:t>
            </a:r>
          </a:p>
        </p:txBody>
      </p:sp>
      <p:sp>
        <p:nvSpPr>
          <p:cNvPr id="5" name="Slide Number Placeholder 4">
            <a:extLst>
              <a:ext uri="{FF2B5EF4-FFF2-40B4-BE49-F238E27FC236}">
                <a16:creationId xmlns:a16="http://schemas.microsoft.com/office/drawing/2014/main" id="{D155AC0F-1E39-47B9-8D1E-CF474F9AA32A}"/>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7626186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A0BCE-0E2C-4536-B418-8574A4E720C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1221F61-807E-4106-B50B-801773ECEB88}"/>
              </a:ext>
            </a:extLst>
          </p:cNvPr>
          <p:cNvSpPr>
            <a:spLocks noGrp="1"/>
          </p:cNvSpPr>
          <p:nvPr>
            <p:ph type="dt" sz="half" idx="10"/>
          </p:nvPr>
        </p:nvSpPr>
        <p:spPr/>
        <p:txBody>
          <a:bodyPr/>
          <a:lstStyle/>
          <a:p>
            <a:fld id="{80F7EC3E-B6B0-49E2-B928-9EA43318526D}" type="datetime1">
              <a:rPr lang="en-GB" smtClean="0"/>
              <a:t>25/12/2023</a:t>
            </a:fld>
            <a:endParaRPr lang="en-GB"/>
          </a:p>
        </p:txBody>
      </p:sp>
      <p:sp>
        <p:nvSpPr>
          <p:cNvPr id="4" name="Footer Placeholder 3">
            <a:extLst>
              <a:ext uri="{FF2B5EF4-FFF2-40B4-BE49-F238E27FC236}">
                <a16:creationId xmlns:a16="http://schemas.microsoft.com/office/drawing/2014/main" id="{0D69D2A0-CB04-4202-BF42-2101DE932E40}"/>
              </a:ext>
            </a:extLst>
          </p:cNvPr>
          <p:cNvSpPr>
            <a:spLocks noGrp="1"/>
          </p:cNvSpPr>
          <p:nvPr>
            <p:ph type="ftr" sz="quarter" idx="11"/>
          </p:nvPr>
        </p:nvSpPr>
        <p:spPr/>
        <p:txBody>
          <a:bodyPr/>
          <a:lstStyle/>
          <a:p>
            <a:r>
              <a:rPr lang="en-GB"/>
              <a:t>Pricing Strategies 70.7015</a:t>
            </a:r>
          </a:p>
        </p:txBody>
      </p:sp>
      <p:sp>
        <p:nvSpPr>
          <p:cNvPr id="5" name="Slide Number Placeholder 4">
            <a:extLst>
              <a:ext uri="{FF2B5EF4-FFF2-40B4-BE49-F238E27FC236}">
                <a16:creationId xmlns:a16="http://schemas.microsoft.com/office/drawing/2014/main" id="{2A5E1C0A-A58A-4E0D-95B4-1D4269A652BC}"/>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19703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9A1E2-9643-D53E-71C2-78B0CD39BA1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05B5A6D-8A43-5792-8C5F-0F4A0653FA2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0621E4E-6957-C677-DD25-D4652C90179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119B6EA-AA09-9806-61D0-15A0C58DA0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13A817D-9D34-EE8A-B89E-477AE12BE52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5F3994E-1CC1-2695-97BA-F1696F22A132}"/>
              </a:ext>
            </a:extLst>
          </p:cNvPr>
          <p:cNvSpPr>
            <a:spLocks noGrp="1"/>
          </p:cNvSpPr>
          <p:nvPr>
            <p:ph type="dt" sz="half" idx="10"/>
          </p:nvPr>
        </p:nvSpPr>
        <p:spPr/>
        <p:txBody>
          <a:bodyPr/>
          <a:lstStyle/>
          <a:p>
            <a:fld id="{E0E77212-FEB2-4966-BEAF-9AC2950C345D}" type="datetimeFigureOut">
              <a:rPr lang="en-GB" smtClean="0"/>
              <a:t>25/12/2023</a:t>
            </a:fld>
            <a:endParaRPr lang="en-GB"/>
          </a:p>
        </p:txBody>
      </p:sp>
      <p:sp>
        <p:nvSpPr>
          <p:cNvPr id="8" name="Footer Placeholder 7">
            <a:extLst>
              <a:ext uri="{FF2B5EF4-FFF2-40B4-BE49-F238E27FC236}">
                <a16:creationId xmlns:a16="http://schemas.microsoft.com/office/drawing/2014/main" id="{EDFEEE7F-3A3F-73EB-CD22-E7FBBEDF958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FAA0F16-9B74-C7B6-84F1-288E619A6DE2}"/>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6072421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66B4A-E7A4-44F7-B8CE-FC04A86BDA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9D41C53-EA93-4DE4-A7CA-AC3B4C39242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A1EE0D3-B655-497B-BAB9-F59F9F335B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EE32D0-96FF-4D4E-89BA-D8BB6700C214}"/>
              </a:ext>
            </a:extLst>
          </p:cNvPr>
          <p:cNvSpPr>
            <a:spLocks noGrp="1"/>
          </p:cNvSpPr>
          <p:nvPr>
            <p:ph type="dt" sz="half" idx="10"/>
          </p:nvPr>
        </p:nvSpPr>
        <p:spPr/>
        <p:txBody>
          <a:bodyPr/>
          <a:lstStyle/>
          <a:p>
            <a:fld id="{41E74C8D-1576-458B-AEA2-8A140093FF95}" type="datetime1">
              <a:rPr lang="en-GB" smtClean="0"/>
              <a:t>25/12/2023</a:t>
            </a:fld>
            <a:endParaRPr lang="en-GB"/>
          </a:p>
        </p:txBody>
      </p:sp>
      <p:sp>
        <p:nvSpPr>
          <p:cNvPr id="6" name="Footer Placeholder 5">
            <a:extLst>
              <a:ext uri="{FF2B5EF4-FFF2-40B4-BE49-F238E27FC236}">
                <a16:creationId xmlns:a16="http://schemas.microsoft.com/office/drawing/2014/main" id="{D2FCD752-B348-430F-A7F6-F30339526C4C}"/>
              </a:ext>
            </a:extLst>
          </p:cNvPr>
          <p:cNvSpPr>
            <a:spLocks noGrp="1"/>
          </p:cNvSpPr>
          <p:nvPr>
            <p:ph type="ftr" sz="quarter" idx="11"/>
          </p:nvPr>
        </p:nvSpPr>
        <p:spPr/>
        <p:txBody>
          <a:bodyPr/>
          <a:lstStyle/>
          <a:p>
            <a:r>
              <a:rPr lang="en-GB"/>
              <a:t>Pricing Strategies 70.7015</a:t>
            </a:r>
          </a:p>
        </p:txBody>
      </p:sp>
      <p:sp>
        <p:nvSpPr>
          <p:cNvPr id="7" name="Slide Number Placeholder 6">
            <a:extLst>
              <a:ext uri="{FF2B5EF4-FFF2-40B4-BE49-F238E27FC236}">
                <a16:creationId xmlns:a16="http://schemas.microsoft.com/office/drawing/2014/main" id="{9ECD9FAF-106A-48D7-ADE7-D2180FB4FB89}"/>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9737778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05A43-DCA0-41F0-901E-EDFCA50532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ACB8440-E897-4696-B6CC-41BA9C2AA1C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628A45FA-A158-4E0C-83E8-BD6F4FEE0B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9505CE2-129D-4625-AA52-864088CDE10F}"/>
              </a:ext>
            </a:extLst>
          </p:cNvPr>
          <p:cNvSpPr>
            <a:spLocks noGrp="1"/>
          </p:cNvSpPr>
          <p:nvPr>
            <p:ph type="dt" sz="half" idx="10"/>
          </p:nvPr>
        </p:nvSpPr>
        <p:spPr/>
        <p:txBody>
          <a:bodyPr/>
          <a:lstStyle/>
          <a:p>
            <a:fld id="{4E9DC4C7-3056-4FAE-8518-56A1CBF4F790}" type="datetime1">
              <a:rPr lang="en-GB" smtClean="0"/>
              <a:t>25/12/2023</a:t>
            </a:fld>
            <a:endParaRPr lang="en-GB"/>
          </a:p>
        </p:txBody>
      </p:sp>
      <p:sp>
        <p:nvSpPr>
          <p:cNvPr id="6" name="Footer Placeholder 5">
            <a:extLst>
              <a:ext uri="{FF2B5EF4-FFF2-40B4-BE49-F238E27FC236}">
                <a16:creationId xmlns:a16="http://schemas.microsoft.com/office/drawing/2014/main" id="{3023195A-2B34-498C-9D0E-C13D2CCA64D1}"/>
              </a:ext>
            </a:extLst>
          </p:cNvPr>
          <p:cNvSpPr>
            <a:spLocks noGrp="1"/>
          </p:cNvSpPr>
          <p:nvPr>
            <p:ph type="ftr" sz="quarter" idx="11"/>
          </p:nvPr>
        </p:nvSpPr>
        <p:spPr/>
        <p:txBody>
          <a:bodyPr/>
          <a:lstStyle/>
          <a:p>
            <a:r>
              <a:rPr lang="en-GB"/>
              <a:t>Pricing Strategies 70.7015</a:t>
            </a:r>
          </a:p>
        </p:txBody>
      </p:sp>
      <p:sp>
        <p:nvSpPr>
          <p:cNvPr id="7" name="Slide Number Placeholder 6">
            <a:extLst>
              <a:ext uri="{FF2B5EF4-FFF2-40B4-BE49-F238E27FC236}">
                <a16:creationId xmlns:a16="http://schemas.microsoft.com/office/drawing/2014/main" id="{A075148F-3B75-4F9E-90DB-60757DC85EC4}"/>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3941243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9A755-F81E-4BAA-A7D7-3174D7F9655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2C0E6F9-CE8F-427D-B508-88933A9DB6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DEFE9C2-5D60-4BEF-A1BE-39EAABC19B35}"/>
              </a:ext>
            </a:extLst>
          </p:cNvPr>
          <p:cNvSpPr>
            <a:spLocks noGrp="1"/>
          </p:cNvSpPr>
          <p:nvPr>
            <p:ph type="dt" sz="half" idx="10"/>
          </p:nvPr>
        </p:nvSpPr>
        <p:spPr/>
        <p:txBody>
          <a:bodyPr/>
          <a:lstStyle/>
          <a:p>
            <a:fld id="{1ED1DA45-B200-4E4A-9C83-560BF7B06F06}" type="datetime1">
              <a:rPr lang="en-GB" smtClean="0"/>
              <a:t>25/12/2023</a:t>
            </a:fld>
            <a:endParaRPr lang="en-GB"/>
          </a:p>
        </p:txBody>
      </p:sp>
      <p:sp>
        <p:nvSpPr>
          <p:cNvPr id="5" name="Footer Placeholder 4">
            <a:extLst>
              <a:ext uri="{FF2B5EF4-FFF2-40B4-BE49-F238E27FC236}">
                <a16:creationId xmlns:a16="http://schemas.microsoft.com/office/drawing/2014/main" id="{D58336F7-E3B8-49AD-BE01-BC454EEA5799}"/>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A58A80A4-D8BB-4A60-9C5A-073A9243F313}"/>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3054051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964F0F-8C74-4E75-8DC6-E48173FF73D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EFF4FA4-4833-4A2B-959E-D81E1622174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E60ABF4-3A88-4EC9-883D-D638143713DA}"/>
              </a:ext>
            </a:extLst>
          </p:cNvPr>
          <p:cNvSpPr>
            <a:spLocks noGrp="1"/>
          </p:cNvSpPr>
          <p:nvPr>
            <p:ph type="dt" sz="half" idx="10"/>
          </p:nvPr>
        </p:nvSpPr>
        <p:spPr/>
        <p:txBody>
          <a:bodyPr/>
          <a:lstStyle/>
          <a:p>
            <a:fld id="{740671B1-7DE3-4DFC-AC20-FBDB2625C8A8}" type="datetime1">
              <a:rPr lang="en-GB" smtClean="0"/>
              <a:t>25/12/2023</a:t>
            </a:fld>
            <a:endParaRPr lang="en-GB"/>
          </a:p>
        </p:txBody>
      </p:sp>
      <p:sp>
        <p:nvSpPr>
          <p:cNvPr id="5" name="Footer Placeholder 4">
            <a:extLst>
              <a:ext uri="{FF2B5EF4-FFF2-40B4-BE49-F238E27FC236}">
                <a16:creationId xmlns:a16="http://schemas.microsoft.com/office/drawing/2014/main" id="{8088AA6A-C5D8-405B-B3F1-380AE8F00FAE}"/>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67668802-CC13-4BA8-8423-87FE7F3BD006}"/>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8737773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A94D579B-3C01-4188-BC9A-FF71DCE709C8}" type="datetime1">
              <a:rPr lang="en-GB" smtClean="0"/>
              <a:t>25/12/2023</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upskilPRO.com</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
        <p:nvSpPr>
          <p:cNvPr id="5" name="Title 4">
            <a:extLst>
              <a:ext uri="{FF2B5EF4-FFF2-40B4-BE49-F238E27FC236}">
                <a16:creationId xmlns:a16="http://schemas.microsoft.com/office/drawing/2014/main" id="{8441F8CE-FA45-4203-92AB-40694511E1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165892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867DD-F73F-CAE5-F325-3F6006374A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D2D63D3-AA72-389A-4ED6-9E767602D7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B8DD0AF-5A66-AB1A-3A94-4046D46AF3B8}"/>
              </a:ext>
            </a:extLst>
          </p:cNvPr>
          <p:cNvSpPr>
            <a:spLocks noGrp="1"/>
          </p:cNvSpPr>
          <p:nvPr>
            <p:ph type="dt" sz="half" idx="10"/>
          </p:nvPr>
        </p:nvSpPr>
        <p:spPr/>
        <p:txBody>
          <a:bodyPr/>
          <a:lstStyle/>
          <a:p>
            <a:fld id="{4610F6F6-52F1-4BDD-928D-84928DA9612C}" type="datetimeFigureOut">
              <a:rPr lang="en-GB" smtClean="0"/>
              <a:t>25/12/2023</a:t>
            </a:fld>
            <a:endParaRPr lang="en-GB"/>
          </a:p>
        </p:txBody>
      </p:sp>
      <p:sp>
        <p:nvSpPr>
          <p:cNvPr id="5" name="Footer Placeholder 4">
            <a:extLst>
              <a:ext uri="{FF2B5EF4-FFF2-40B4-BE49-F238E27FC236}">
                <a16:creationId xmlns:a16="http://schemas.microsoft.com/office/drawing/2014/main" id="{AF1FCE6F-0ACB-7A70-1941-CB30BA81783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775BFF0-EE3D-39F3-4F56-A6939C3AFDA9}"/>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616944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56946-9B08-9C4A-69AC-5F407ADB81D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7B2CAE8-EF22-92A1-0AD1-8612F7C6E97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AE40AB0-BC3E-DF50-ADB0-C680F160E6FA}"/>
              </a:ext>
            </a:extLst>
          </p:cNvPr>
          <p:cNvSpPr>
            <a:spLocks noGrp="1"/>
          </p:cNvSpPr>
          <p:nvPr>
            <p:ph type="dt" sz="half" idx="10"/>
          </p:nvPr>
        </p:nvSpPr>
        <p:spPr/>
        <p:txBody>
          <a:bodyPr/>
          <a:lstStyle/>
          <a:p>
            <a:fld id="{4610F6F6-52F1-4BDD-928D-84928DA9612C}" type="datetimeFigureOut">
              <a:rPr lang="en-GB" smtClean="0"/>
              <a:t>25/12/2023</a:t>
            </a:fld>
            <a:endParaRPr lang="en-GB"/>
          </a:p>
        </p:txBody>
      </p:sp>
      <p:sp>
        <p:nvSpPr>
          <p:cNvPr id="5" name="Footer Placeholder 4">
            <a:extLst>
              <a:ext uri="{FF2B5EF4-FFF2-40B4-BE49-F238E27FC236}">
                <a16:creationId xmlns:a16="http://schemas.microsoft.com/office/drawing/2014/main" id="{D554C201-C3C8-989E-1177-6B970AA160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DF527D8-BE55-F8A0-72CD-3BD30B74975D}"/>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4914489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7355A-913B-2387-09AA-F0FD9132130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A8E49ED-D81A-99E5-10F7-9A99D26E31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7EAC30-4686-79E8-3040-4AA953DFACF7}"/>
              </a:ext>
            </a:extLst>
          </p:cNvPr>
          <p:cNvSpPr>
            <a:spLocks noGrp="1"/>
          </p:cNvSpPr>
          <p:nvPr>
            <p:ph type="dt" sz="half" idx="10"/>
          </p:nvPr>
        </p:nvSpPr>
        <p:spPr/>
        <p:txBody>
          <a:bodyPr/>
          <a:lstStyle/>
          <a:p>
            <a:fld id="{4610F6F6-52F1-4BDD-928D-84928DA9612C}" type="datetimeFigureOut">
              <a:rPr lang="en-GB" smtClean="0"/>
              <a:t>25/12/2023</a:t>
            </a:fld>
            <a:endParaRPr lang="en-GB"/>
          </a:p>
        </p:txBody>
      </p:sp>
      <p:sp>
        <p:nvSpPr>
          <p:cNvPr id="5" name="Footer Placeholder 4">
            <a:extLst>
              <a:ext uri="{FF2B5EF4-FFF2-40B4-BE49-F238E27FC236}">
                <a16:creationId xmlns:a16="http://schemas.microsoft.com/office/drawing/2014/main" id="{50D3B583-AA79-662A-1815-399BD4ADE1A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F1513CD-D500-234C-6252-7E045808EBB3}"/>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9134672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16B76-0F50-4D2F-4DA9-A06854D9442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20D2E1D-BF93-B365-B991-353210E75D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10FF946-5974-1379-52C7-5E197C587F4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00E551B-A662-722E-CFD7-E62F111E9CF0}"/>
              </a:ext>
            </a:extLst>
          </p:cNvPr>
          <p:cNvSpPr>
            <a:spLocks noGrp="1"/>
          </p:cNvSpPr>
          <p:nvPr>
            <p:ph type="dt" sz="half" idx="10"/>
          </p:nvPr>
        </p:nvSpPr>
        <p:spPr/>
        <p:txBody>
          <a:bodyPr/>
          <a:lstStyle/>
          <a:p>
            <a:fld id="{4610F6F6-52F1-4BDD-928D-84928DA9612C}" type="datetimeFigureOut">
              <a:rPr lang="en-GB" smtClean="0"/>
              <a:t>25/12/2023</a:t>
            </a:fld>
            <a:endParaRPr lang="en-GB"/>
          </a:p>
        </p:txBody>
      </p:sp>
      <p:sp>
        <p:nvSpPr>
          <p:cNvPr id="6" name="Footer Placeholder 5">
            <a:extLst>
              <a:ext uri="{FF2B5EF4-FFF2-40B4-BE49-F238E27FC236}">
                <a16:creationId xmlns:a16="http://schemas.microsoft.com/office/drawing/2014/main" id="{E91AA349-0BC9-1221-1764-FADB29104B1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74BA6B4-4C97-35DE-432B-5607FBCCBB81}"/>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5206853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E0ED3-D493-C3DB-532A-39ED90D283E0}"/>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B364F44-5B11-F53F-8DAC-9F34D584AF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0B13A68-EFCE-54D4-07C2-A727B4AE57F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4966FB-0E95-EC49-A163-60175D2321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EEFDBF4-D87D-5C9F-19C4-D666C161105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1638874-DAC4-6C61-C947-AD9774C7A073}"/>
              </a:ext>
            </a:extLst>
          </p:cNvPr>
          <p:cNvSpPr>
            <a:spLocks noGrp="1"/>
          </p:cNvSpPr>
          <p:nvPr>
            <p:ph type="dt" sz="half" idx="10"/>
          </p:nvPr>
        </p:nvSpPr>
        <p:spPr/>
        <p:txBody>
          <a:bodyPr/>
          <a:lstStyle/>
          <a:p>
            <a:fld id="{4610F6F6-52F1-4BDD-928D-84928DA9612C}" type="datetimeFigureOut">
              <a:rPr lang="en-GB" smtClean="0"/>
              <a:t>25/12/2023</a:t>
            </a:fld>
            <a:endParaRPr lang="en-GB"/>
          </a:p>
        </p:txBody>
      </p:sp>
      <p:sp>
        <p:nvSpPr>
          <p:cNvPr id="8" name="Footer Placeholder 7">
            <a:extLst>
              <a:ext uri="{FF2B5EF4-FFF2-40B4-BE49-F238E27FC236}">
                <a16:creationId xmlns:a16="http://schemas.microsoft.com/office/drawing/2014/main" id="{96F8607D-3FE7-1DB1-97B1-0E9700A21EE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E23A4CC-E926-E7C8-D3E1-5799C22F40FF}"/>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4056582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7033D-3C30-D257-DD95-BB7567277C0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1DF4299-5F2C-D2B1-6071-0D23A9708564}"/>
              </a:ext>
            </a:extLst>
          </p:cNvPr>
          <p:cNvSpPr>
            <a:spLocks noGrp="1"/>
          </p:cNvSpPr>
          <p:nvPr>
            <p:ph type="dt" sz="half" idx="10"/>
          </p:nvPr>
        </p:nvSpPr>
        <p:spPr/>
        <p:txBody>
          <a:bodyPr/>
          <a:lstStyle/>
          <a:p>
            <a:fld id="{E0E77212-FEB2-4966-BEAF-9AC2950C345D}" type="datetimeFigureOut">
              <a:rPr lang="en-GB" smtClean="0"/>
              <a:t>25/12/2023</a:t>
            </a:fld>
            <a:endParaRPr lang="en-GB"/>
          </a:p>
        </p:txBody>
      </p:sp>
      <p:sp>
        <p:nvSpPr>
          <p:cNvPr id="4" name="Footer Placeholder 3">
            <a:extLst>
              <a:ext uri="{FF2B5EF4-FFF2-40B4-BE49-F238E27FC236}">
                <a16:creationId xmlns:a16="http://schemas.microsoft.com/office/drawing/2014/main" id="{8EDA6B2A-7685-89D4-DEDC-73DCBE69470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CD9FB21-37EF-8897-6600-A27590CB01EE}"/>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32443664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7437E-132E-CC88-1B68-4639DA12A53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BACED2E-97A6-2832-A35C-03BF3E23CA02}"/>
              </a:ext>
            </a:extLst>
          </p:cNvPr>
          <p:cNvSpPr>
            <a:spLocks noGrp="1"/>
          </p:cNvSpPr>
          <p:nvPr>
            <p:ph type="dt" sz="half" idx="10"/>
          </p:nvPr>
        </p:nvSpPr>
        <p:spPr/>
        <p:txBody>
          <a:bodyPr/>
          <a:lstStyle/>
          <a:p>
            <a:fld id="{4610F6F6-52F1-4BDD-928D-84928DA9612C}" type="datetimeFigureOut">
              <a:rPr lang="en-GB" smtClean="0"/>
              <a:t>25/12/2023</a:t>
            </a:fld>
            <a:endParaRPr lang="en-GB"/>
          </a:p>
        </p:txBody>
      </p:sp>
      <p:sp>
        <p:nvSpPr>
          <p:cNvPr id="4" name="Footer Placeholder 3">
            <a:extLst>
              <a:ext uri="{FF2B5EF4-FFF2-40B4-BE49-F238E27FC236}">
                <a16:creationId xmlns:a16="http://schemas.microsoft.com/office/drawing/2014/main" id="{E30BD27F-6B42-0D77-9BEF-87F9B4A66EC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873083F-4BAE-1158-0303-353BD4FEE18D}"/>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13198987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4A496C-79B2-EFAB-DD2C-E3B80D076CBD}"/>
              </a:ext>
            </a:extLst>
          </p:cNvPr>
          <p:cNvSpPr>
            <a:spLocks noGrp="1"/>
          </p:cNvSpPr>
          <p:nvPr>
            <p:ph type="dt" sz="half" idx="10"/>
          </p:nvPr>
        </p:nvSpPr>
        <p:spPr/>
        <p:txBody>
          <a:bodyPr/>
          <a:lstStyle/>
          <a:p>
            <a:fld id="{4610F6F6-52F1-4BDD-928D-84928DA9612C}" type="datetimeFigureOut">
              <a:rPr lang="en-GB" smtClean="0"/>
              <a:t>25/12/2023</a:t>
            </a:fld>
            <a:endParaRPr lang="en-GB"/>
          </a:p>
        </p:txBody>
      </p:sp>
      <p:sp>
        <p:nvSpPr>
          <p:cNvPr id="3" name="Footer Placeholder 2">
            <a:extLst>
              <a:ext uri="{FF2B5EF4-FFF2-40B4-BE49-F238E27FC236}">
                <a16:creationId xmlns:a16="http://schemas.microsoft.com/office/drawing/2014/main" id="{9DBDF779-298B-FAA7-AE29-755DF0C9C43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AA7C315-AC97-8A11-720E-342C8424B1AE}"/>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5294611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CA902-1304-B98A-3676-C49BFD79E8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3EA31ED-7586-1178-86D1-B0AA8B286E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B3F05A1-798F-5117-E008-E405447A40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C77961-4AD2-FA8D-6C9D-BDD18960C3C8}"/>
              </a:ext>
            </a:extLst>
          </p:cNvPr>
          <p:cNvSpPr>
            <a:spLocks noGrp="1"/>
          </p:cNvSpPr>
          <p:nvPr>
            <p:ph type="dt" sz="half" idx="10"/>
          </p:nvPr>
        </p:nvSpPr>
        <p:spPr/>
        <p:txBody>
          <a:bodyPr/>
          <a:lstStyle/>
          <a:p>
            <a:fld id="{4610F6F6-52F1-4BDD-928D-84928DA9612C}" type="datetimeFigureOut">
              <a:rPr lang="en-GB" smtClean="0"/>
              <a:t>25/12/2023</a:t>
            </a:fld>
            <a:endParaRPr lang="en-GB"/>
          </a:p>
        </p:txBody>
      </p:sp>
      <p:sp>
        <p:nvSpPr>
          <p:cNvPr id="6" name="Footer Placeholder 5">
            <a:extLst>
              <a:ext uri="{FF2B5EF4-FFF2-40B4-BE49-F238E27FC236}">
                <a16:creationId xmlns:a16="http://schemas.microsoft.com/office/drawing/2014/main" id="{FEDD99F4-1760-9E02-9C56-9601101FCA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418F7F9-AD55-3E62-5DDB-EAEDB9900393}"/>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0155133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EF64C-A79D-DCEF-C6D3-4EA6A1524A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819CF54-E5BD-1A44-568A-715513B653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071CDD5-7B7B-EE43-CEE3-372BEED4FD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1CFF5-B353-4E19-5B39-48E6B13D1C77}"/>
              </a:ext>
            </a:extLst>
          </p:cNvPr>
          <p:cNvSpPr>
            <a:spLocks noGrp="1"/>
          </p:cNvSpPr>
          <p:nvPr>
            <p:ph type="dt" sz="half" idx="10"/>
          </p:nvPr>
        </p:nvSpPr>
        <p:spPr/>
        <p:txBody>
          <a:bodyPr/>
          <a:lstStyle/>
          <a:p>
            <a:fld id="{4610F6F6-52F1-4BDD-928D-84928DA9612C}" type="datetimeFigureOut">
              <a:rPr lang="en-GB" smtClean="0"/>
              <a:t>25/12/2023</a:t>
            </a:fld>
            <a:endParaRPr lang="en-GB"/>
          </a:p>
        </p:txBody>
      </p:sp>
      <p:sp>
        <p:nvSpPr>
          <p:cNvPr id="6" name="Footer Placeholder 5">
            <a:extLst>
              <a:ext uri="{FF2B5EF4-FFF2-40B4-BE49-F238E27FC236}">
                <a16:creationId xmlns:a16="http://schemas.microsoft.com/office/drawing/2014/main" id="{F0328EE1-E38D-BA4F-F82D-5CF3C14DC64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2E334AB-F545-44E6-98AF-9351108DFC40}"/>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95044809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05C36-C726-E489-6D38-31111EEC33E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2C23EAF-5BC2-263E-5353-A90B383D2D4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A4544FE-DBC4-B631-BAAF-B73410A22041}"/>
              </a:ext>
            </a:extLst>
          </p:cNvPr>
          <p:cNvSpPr>
            <a:spLocks noGrp="1"/>
          </p:cNvSpPr>
          <p:nvPr>
            <p:ph type="dt" sz="half" idx="10"/>
          </p:nvPr>
        </p:nvSpPr>
        <p:spPr/>
        <p:txBody>
          <a:bodyPr/>
          <a:lstStyle/>
          <a:p>
            <a:fld id="{4610F6F6-52F1-4BDD-928D-84928DA9612C}" type="datetimeFigureOut">
              <a:rPr lang="en-GB" smtClean="0"/>
              <a:t>25/12/2023</a:t>
            </a:fld>
            <a:endParaRPr lang="en-GB"/>
          </a:p>
        </p:txBody>
      </p:sp>
      <p:sp>
        <p:nvSpPr>
          <p:cNvPr id="5" name="Footer Placeholder 4">
            <a:extLst>
              <a:ext uri="{FF2B5EF4-FFF2-40B4-BE49-F238E27FC236}">
                <a16:creationId xmlns:a16="http://schemas.microsoft.com/office/drawing/2014/main" id="{6747238E-CC12-E59D-4CF3-0D896579A0D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D048944-7057-CCAD-CE6D-0CC462EDA3CF}"/>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4996020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B5ED4CD-170F-29DB-A7F1-71367B43FC3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02798F7-BF46-CECF-FAD5-00BA0635087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7E7E535-3BF6-46B2-4919-A229939E9749}"/>
              </a:ext>
            </a:extLst>
          </p:cNvPr>
          <p:cNvSpPr>
            <a:spLocks noGrp="1"/>
          </p:cNvSpPr>
          <p:nvPr>
            <p:ph type="dt" sz="half" idx="10"/>
          </p:nvPr>
        </p:nvSpPr>
        <p:spPr/>
        <p:txBody>
          <a:bodyPr/>
          <a:lstStyle/>
          <a:p>
            <a:fld id="{4610F6F6-52F1-4BDD-928D-84928DA9612C}" type="datetimeFigureOut">
              <a:rPr lang="en-GB" smtClean="0"/>
              <a:t>25/12/2023</a:t>
            </a:fld>
            <a:endParaRPr lang="en-GB"/>
          </a:p>
        </p:txBody>
      </p:sp>
      <p:sp>
        <p:nvSpPr>
          <p:cNvPr id="5" name="Footer Placeholder 4">
            <a:extLst>
              <a:ext uri="{FF2B5EF4-FFF2-40B4-BE49-F238E27FC236}">
                <a16:creationId xmlns:a16="http://schemas.microsoft.com/office/drawing/2014/main" id="{852B2552-04F9-E402-914B-8CBC4639FF8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D54DA66-B39F-E200-6823-159A12E91AF7}"/>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4267605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E0F92C-4CA8-A00F-4C24-2FF88F4BF644}"/>
              </a:ext>
            </a:extLst>
          </p:cNvPr>
          <p:cNvSpPr>
            <a:spLocks noGrp="1"/>
          </p:cNvSpPr>
          <p:nvPr>
            <p:ph type="dt" sz="half" idx="10"/>
          </p:nvPr>
        </p:nvSpPr>
        <p:spPr/>
        <p:txBody>
          <a:bodyPr/>
          <a:lstStyle/>
          <a:p>
            <a:fld id="{E0E77212-FEB2-4966-BEAF-9AC2950C345D}" type="datetimeFigureOut">
              <a:rPr lang="en-GB" smtClean="0"/>
              <a:t>25/12/2023</a:t>
            </a:fld>
            <a:endParaRPr lang="en-GB"/>
          </a:p>
        </p:txBody>
      </p:sp>
      <p:sp>
        <p:nvSpPr>
          <p:cNvPr id="3" name="Footer Placeholder 2">
            <a:extLst>
              <a:ext uri="{FF2B5EF4-FFF2-40B4-BE49-F238E27FC236}">
                <a16:creationId xmlns:a16="http://schemas.microsoft.com/office/drawing/2014/main" id="{D54CC445-2105-58C3-99AD-9EF91BFBD611}"/>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A9DAA97-8F07-8C48-7F08-E79C1F0D3C9D}"/>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1770839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DA658E-D396-06C3-8E9F-45848D8427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FBE7016-A5F2-3694-8D48-075D05763B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0F4A2E0-8FE3-F32F-3AC1-EB115085D7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C7ACDE-BF59-DE47-D6CD-6FC85F43B552}"/>
              </a:ext>
            </a:extLst>
          </p:cNvPr>
          <p:cNvSpPr>
            <a:spLocks noGrp="1"/>
          </p:cNvSpPr>
          <p:nvPr>
            <p:ph type="dt" sz="half" idx="10"/>
          </p:nvPr>
        </p:nvSpPr>
        <p:spPr/>
        <p:txBody>
          <a:bodyPr/>
          <a:lstStyle/>
          <a:p>
            <a:fld id="{E0E77212-FEB2-4966-BEAF-9AC2950C345D}" type="datetimeFigureOut">
              <a:rPr lang="en-GB" smtClean="0"/>
              <a:t>25/12/2023</a:t>
            </a:fld>
            <a:endParaRPr lang="en-GB"/>
          </a:p>
        </p:txBody>
      </p:sp>
      <p:sp>
        <p:nvSpPr>
          <p:cNvPr id="6" name="Footer Placeholder 5">
            <a:extLst>
              <a:ext uri="{FF2B5EF4-FFF2-40B4-BE49-F238E27FC236}">
                <a16:creationId xmlns:a16="http://schemas.microsoft.com/office/drawing/2014/main" id="{A6F71C77-AD6E-8D98-4517-9AE6BEB5232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8E91622-9071-B9A7-10DD-6D3EAB121DB4}"/>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578829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EDD83-D6E6-68CD-17EB-E8F6C19C7B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354ABB9-BF22-D4EC-29AA-8CB401F0C9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7804D5A-7813-E54F-219D-FD3DC0316B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35A2DE-502F-7063-6FAF-16CD1ED24507}"/>
              </a:ext>
            </a:extLst>
          </p:cNvPr>
          <p:cNvSpPr>
            <a:spLocks noGrp="1"/>
          </p:cNvSpPr>
          <p:nvPr>
            <p:ph type="dt" sz="half" idx="10"/>
          </p:nvPr>
        </p:nvSpPr>
        <p:spPr/>
        <p:txBody>
          <a:bodyPr/>
          <a:lstStyle/>
          <a:p>
            <a:fld id="{E0E77212-FEB2-4966-BEAF-9AC2950C345D}" type="datetimeFigureOut">
              <a:rPr lang="en-GB" smtClean="0"/>
              <a:t>25/12/2023</a:t>
            </a:fld>
            <a:endParaRPr lang="en-GB"/>
          </a:p>
        </p:txBody>
      </p:sp>
      <p:sp>
        <p:nvSpPr>
          <p:cNvPr id="6" name="Footer Placeholder 5">
            <a:extLst>
              <a:ext uri="{FF2B5EF4-FFF2-40B4-BE49-F238E27FC236}">
                <a16:creationId xmlns:a16="http://schemas.microsoft.com/office/drawing/2014/main" id="{CFD41AEC-7F5F-6B08-0385-D454B42E10F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E6F9DF1-E22B-DD85-FD78-37F4A6AE58F9}"/>
              </a:ext>
            </a:extLst>
          </p:cNvPr>
          <p:cNvSpPr>
            <a:spLocks noGrp="1"/>
          </p:cNvSpPr>
          <p:nvPr>
            <p:ph type="sldNum" sz="quarter" idx="12"/>
          </p:nvPr>
        </p:nvSpPr>
        <p:spPr/>
        <p:txBody>
          <a:bodyPr/>
          <a:lstStyle/>
          <a:p>
            <a:fld id="{83E3B9FD-B342-49D7-8DE4-155C16E449A0}" type="slidenum">
              <a:rPr lang="en-GB" smtClean="0"/>
              <a:t>‹#›</a:t>
            </a:fld>
            <a:endParaRPr lang="en-GB"/>
          </a:p>
        </p:txBody>
      </p:sp>
    </p:spTree>
    <p:extLst>
      <p:ext uri="{BB962C8B-B14F-4D97-AF65-F5344CB8AC3E}">
        <p14:creationId xmlns:p14="http://schemas.microsoft.com/office/powerpoint/2010/main" val="23491232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4.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theme" Target="../theme/theme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8E53C6D-456B-7B16-EF97-BB4E0CD38B1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F658192-86BA-19E3-98CA-242B519331F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80599A9-767F-2446-5C65-7BF403485A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E77212-FEB2-4966-BEAF-9AC2950C345D}" type="datetimeFigureOut">
              <a:rPr lang="en-GB" smtClean="0"/>
              <a:t>25/12/2023</a:t>
            </a:fld>
            <a:endParaRPr lang="en-GB"/>
          </a:p>
        </p:txBody>
      </p:sp>
      <p:sp>
        <p:nvSpPr>
          <p:cNvPr id="5" name="Footer Placeholder 4">
            <a:extLst>
              <a:ext uri="{FF2B5EF4-FFF2-40B4-BE49-F238E27FC236}">
                <a16:creationId xmlns:a16="http://schemas.microsoft.com/office/drawing/2014/main" id="{DA7A0860-7747-87A6-92E0-0255C79FCE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0092EA5-25E6-9C82-148A-AF5749390CC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E3B9FD-B342-49D7-8DE4-155C16E449A0}" type="slidenum">
              <a:rPr lang="en-GB" smtClean="0"/>
              <a:t>‹#›</a:t>
            </a:fld>
            <a:endParaRPr lang="en-GB"/>
          </a:p>
        </p:txBody>
      </p:sp>
    </p:spTree>
    <p:extLst>
      <p:ext uri="{BB962C8B-B14F-4D97-AF65-F5344CB8AC3E}">
        <p14:creationId xmlns:p14="http://schemas.microsoft.com/office/powerpoint/2010/main" val="13839867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72693F-644E-4F37-AE35-ABBDB5B784F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D19AF26-FD28-4150-8A76-CC3EBE779DD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6664BBD-B103-4D75-A635-44F9728BB3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B191CE-F718-4C8B-826F-7503487B79B5}" type="datetimeFigureOut">
              <a:rPr lang="en-GB" smtClean="0"/>
              <a:t>25/12/2023</a:t>
            </a:fld>
            <a:endParaRPr lang="en-GB"/>
          </a:p>
        </p:txBody>
      </p:sp>
      <p:sp>
        <p:nvSpPr>
          <p:cNvPr id="5" name="Footer Placeholder 4">
            <a:extLst>
              <a:ext uri="{FF2B5EF4-FFF2-40B4-BE49-F238E27FC236}">
                <a16:creationId xmlns:a16="http://schemas.microsoft.com/office/drawing/2014/main" id="{664750B0-1598-4589-81B8-3E079A7808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71F23CC-513C-4339-871A-BD54473F55A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8750C2-3E67-4349-BB2B-733FE64E9501}" type="slidenum">
              <a:rPr lang="en-GB" smtClean="0"/>
              <a:t>‹#›</a:t>
            </a:fld>
            <a:endParaRPr lang="en-GB"/>
          </a:p>
        </p:txBody>
      </p:sp>
    </p:spTree>
    <p:extLst>
      <p:ext uri="{BB962C8B-B14F-4D97-AF65-F5344CB8AC3E}">
        <p14:creationId xmlns:p14="http://schemas.microsoft.com/office/powerpoint/2010/main" val="30983341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AA30958-48AC-4E45-3897-CBACC6CF16C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EBA767C-348B-846F-9574-736C21774EF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2CCCEA6-90D3-B2EF-1DB1-801DB85AB52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41DBE789-A1A8-28E9-B11E-ABE4874EEB9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8ABE107-729C-23EA-5426-41C3D7EC6AC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F72325A-DC7E-4C04-B741-F2133948C1C0}" type="slidenum">
              <a:rPr lang="en-GB" smtClean="0"/>
              <a:t>‹#›</a:t>
            </a:fld>
            <a:endParaRPr lang="en-GB"/>
          </a:p>
        </p:txBody>
      </p:sp>
    </p:spTree>
    <p:extLst>
      <p:ext uri="{BB962C8B-B14F-4D97-AF65-F5344CB8AC3E}">
        <p14:creationId xmlns:p14="http://schemas.microsoft.com/office/powerpoint/2010/main" val="387316424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718" r:id="rId1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28774" y="374553"/>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620149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Lst>
  <p:hf sldNum="0" hdr="0" ftr="0" dt="0"/>
  <p:txStyles>
    <p:title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p:titleStyle>
    <p:bodyStyle>
      <a:lvl1pPr marL="0" indent="0" algn="l" defTabSz="914172" rtl="0" eaLnBrk="1" latinLnBrk="0" hangingPunct="1">
        <a:lnSpc>
          <a:spcPct val="90000"/>
        </a:lnSpc>
        <a:spcBef>
          <a:spcPts val="1000"/>
        </a:spcBef>
        <a:buFont typeface="Arial" panose="020B0604020202020204" pitchFamily="34" charset="0"/>
        <a:buNone/>
        <a:defRPr sz="2800" b="0" i="0" kern="1200">
          <a:solidFill>
            <a:schemeClr val="tx1"/>
          </a:solidFill>
          <a:latin typeface="Lato Light" panose="020F0502020204030203" pitchFamily="34" charset="0"/>
          <a:ea typeface="+mn-ea"/>
          <a:cs typeface="+mn-cs"/>
        </a:defRPr>
      </a:lvl1pPr>
      <a:lvl2pPr marL="457086" indent="0" algn="l" defTabSz="914172" rtl="0" eaLnBrk="1" latinLnBrk="0" hangingPunct="1">
        <a:lnSpc>
          <a:spcPct val="90000"/>
        </a:lnSpc>
        <a:spcBef>
          <a:spcPts val="500"/>
        </a:spcBef>
        <a:buFont typeface="Arial" panose="020B0604020202020204" pitchFamily="34" charset="0"/>
        <a:buNone/>
        <a:defRPr sz="2400" b="0" i="0" kern="1200">
          <a:solidFill>
            <a:schemeClr val="tx1"/>
          </a:solidFill>
          <a:latin typeface="Lato Light" panose="020F0502020204030203" pitchFamily="34" charset="0"/>
          <a:ea typeface="+mn-ea"/>
          <a:cs typeface="+mn-cs"/>
        </a:defRPr>
      </a:lvl2pPr>
      <a:lvl3pPr marL="914172" indent="0" algn="l" defTabSz="914172" rtl="0" eaLnBrk="1" latinLnBrk="0" hangingPunct="1">
        <a:lnSpc>
          <a:spcPct val="90000"/>
        </a:lnSpc>
        <a:spcBef>
          <a:spcPts val="500"/>
        </a:spcBef>
        <a:buFont typeface="Arial" panose="020B0604020202020204" pitchFamily="34" charset="0"/>
        <a:buNone/>
        <a:defRPr sz="2000" b="0" i="0" kern="1200">
          <a:solidFill>
            <a:schemeClr val="tx1"/>
          </a:solidFill>
          <a:latin typeface="Lato Light" panose="020F0502020204030203" pitchFamily="34" charset="0"/>
          <a:ea typeface="+mn-ea"/>
          <a:cs typeface="+mn-cs"/>
        </a:defRPr>
      </a:lvl3pPr>
      <a:lvl4pPr marL="1371257" indent="0" algn="l" defTabSz="914172" rtl="0" eaLnBrk="1" latinLnBrk="0" hangingPunct="1">
        <a:lnSpc>
          <a:spcPct val="90000"/>
        </a:lnSpc>
        <a:spcBef>
          <a:spcPts val="500"/>
        </a:spcBef>
        <a:buFont typeface="Arial" panose="020B0604020202020204" pitchFamily="34" charset="0"/>
        <a:buNone/>
        <a:defRPr sz="1800" b="0" i="0" kern="1200">
          <a:solidFill>
            <a:schemeClr val="tx1"/>
          </a:solidFill>
          <a:latin typeface="Lato Light" panose="020F0502020204030203" pitchFamily="34" charset="0"/>
          <a:ea typeface="+mn-ea"/>
          <a:cs typeface="+mn-cs"/>
        </a:defRPr>
      </a:lvl4pPr>
      <a:lvl5pPr marL="1828343" indent="0" algn="l" defTabSz="914172" rtl="0" eaLnBrk="1" latinLnBrk="0" hangingPunct="1">
        <a:lnSpc>
          <a:spcPct val="90000"/>
        </a:lnSpc>
        <a:spcBef>
          <a:spcPts val="500"/>
        </a:spcBef>
        <a:buFont typeface="Arial" panose="020B0604020202020204" pitchFamily="34" charset="0"/>
        <a:buNone/>
        <a:defRPr sz="1800" b="0" i="0" kern="1200">
          <a:solidFill>
            <a:schemeClr val="tx1"/>
          </a:solidFill>
          <a:latin typeface="Lato Light" panose="020F0502020204030203" pitchFamily="34" charset="0"/>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ABBD152-7BBF-4AF7-B492-B11F102BCBB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684B255-9DF1-4E88-AC0A-A7F9A48561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BAEAACC-985D-425A-9E6B-09A97D489FA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0F7EC3E-B6B0-49E2-B928-9EA43318526D}" type="datetime1">
              <a:rPr lang="en-GB" smtClean="0"/>
              <a:t>25/12/2023</a:t>
            </a:fld>
            <a:endParaRPr lang="en-GB"/>
          </a:p>
        </p:txBody>
      </p:sp>
      <p:sp>
        <p:nvSpPr>
          <p:cNvPr id="5" name="Footer Placeholder 4">
            <a:extLst>
              <a:ext uri="{FF2B5EF4-FFF2-40B4-BE49-F238E27FC236}">
                <a16:creationId xmlns:a16="http://schemas.microsoft.com/office/drawing/2014/main" id="{CA834C0B-3AD9-4ACF-A18D-3D1281B462E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Pricing Strategies 70.7015</a:t>
            </a:r>
          </a:p>
        </p:txBody>
      </p:sp>
      <p:sp>
        <p:nvSpPr>
          <p:cNvPr id="6" name="Slide Number Placeholder 5">
            <a:extLst>
              <a:ext uri="{FF2B5EF4-FFF2-40B4-BE49-F238E27FC236}">
                <a16:creationId xmlns:a16="http://schemas.microsoft.com/office/drawing/2014/main" id="{3E967DE5-5A40-43F1-9A1B-E3AB4C9B15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8828D9-3E6A-477F-A491-AADAE3613DD2}" type="slidenum">
              <a:rPr lang="en-GB" smtClean="0"/>
              <a:t>‹#›</a:t>
            </a:fld>
            <a:endParaRPr lang="en-GB"/>
          </a:p>
        </p:txBody>
      </p:sp>
    </p:spTree>
    <p:extLst>
      <p:ext uri="{BB962C8B-B14F-4D97-AF65-F5344CB8AC3E}">
        <p14:creationId xmlns:p14="http://schemas.microsoft.com/office/powerpoint/2010/main" val="3000569786"/>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2203D0-EBBA-1B6A-ECA8-D38216349E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1092C50-DDB8-45DF-DD33-1FFECC0E63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873341-B16E-234D-D1CD-A6F1BC701D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10F6F6-52F1-4BDD-928D-84928DA9612C}" type="datetimeFigureOut">
              <a:rPr lang="en-GB" smtClean="0"/>
              <a:t>25/12/2023</a:t>
            </a:fld>
            <a:endParaRPr lang="en-GB"/>
          </a:p>
        </p:txBody>
      </p:sp>
      <p:sp>
        <p:nvSpPr>
          <p:cNvPr id="5" name="Footer Placeholder 4">
            <a:extLst>
              <a:ext uri="{FF2B5EF4-FFF2-40B4-BE49-F238E27FC236}">
                <a16:creationId xmlns:a16="http://schemas.microsoft.com/office/drawing/2014/main" id="{85E3E506-9346-03B2-BF2A-27BDEF44D5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5BF6CA-8846-54D7-282F-88A869D8F1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F2132C-8832-4EB1-97FC-35BD516CA2C9}" type="slidenum">
              <a:rPr lang="en-GB" smtClean="0"/>
              <a:t>‹#›</a:t>
            </a:fld>
            <a:endParaRPr lang="en-GB"/>
          </a:p>
        </p:txBody>
      </p:sp>
    </p:spTree>
    <p:extLst>
      <p:ext uri="{BB962C8B-B14F-4D97-AF65-F5344CB8AC3E}">
        <p14:creationId xmlns:p14="http://schemas.microsoft.com/office/powerpoint/2010/main" val="341747880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54.xml"/><Relationship Id="rId6" Type="http://schemas.openxmlformats.org/officeDocument/2006/relationships/image" Target="../media/image1.png"/><Relationship Id="rId5" Type="http://schemas.openxmlformats.org/officeDocument/2006/relationships/image" Target="../media/image6.jpe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tags" Target="../tags/tag3.xml"/><Relationship Id="rId7" Type="http://schemas.openxmlformats.org/officeDocument/2006/relationships/diagramQuickStyle" Target="../diagrams/quickStyl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diagramLayout" Target="../diagrams/layout1.xml"/><Relationship Id="rId11" Type="http://schemas.openxmlformats.org/officeDocument/2006/relationships/image" Target="../media/image24.emf"/><Relationship Id="rId5" Type="http://schemas.openxmlformats.org/officeDocument/2006/relationships/diagramData" Target="../diagrams/data1.xml"/><Relationship Id="rId10" Type="http://schemas.openxmlformats.org/officeDocument/2006/relationships/image" Target="../media/image1.png"/><Relationship Id="rId4" Type="http://schemas.openxmlformats.org/officeDocument/2006/relationships/slideLayout" Target="../slideLayouts/slideLayout7.xml"/><Relationship Id="rId9" Type="http://schemas.microsoft.com/office/2007/relationships/diagramDrawing" Target="../diagrams/drawing1.xml"/></Relationships>
</file>

<file path=ppt/slides/_rels/slide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hyperlink" Target="file:///\\tools" TargetMode="External"/><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1.png"/><Relationship Id="rId4" Type="http://schemas.openxmlformats.org/officeDocument/2006/relationships/image" Target="../media/image8.png"/><Relationship Id="rId9" Type="http://schemas.openxmlformats.org/officeDocument/2006/relationships/image" Target="../media/image12.png"/></Relationships>
</file>

<file path=ppt/slides/_rels/slide30.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32.jpeg"/><Relationship Id="rId7" Type="http://schemas.openxmlformats.org/officeDocument/2006/relationships/image" Target="../media/image35.png"/><Relationship Id="rId2" Type="http://schemas.openxmlformats.org/officeDocument/2006/relationships/image" Target="../media/image31.jpeg"/><Relationship Id="rId1" Type="http://schemas.openxmlformats.org/officeDocument/2006/relationships/slideLayout" Target="../slideLayouts/slideLayout18.xml"/><Relationship Id="rId6" Type="http://schemas.microsoft.com/office/2007/relationships/hdphoto" Target="../media/hdphoto6.wdp"/><Relationship Id="rId5" Type="http://schemas.openxmlformats.org/officeDocument/2006/relationships/image" Target="../media/image34.png"/><Relationship Id="rId10" Type="http://schemas.microsoft.com/office/2007/relationships/hdphoto" Target="../media/hdphoto8.wdp"/><Relationship Id="rId4" Type="http://schemas.openxmlformats.org/officeDocument/2006/relationships/image" Target="../media/image33.jpeg"/><Relationship Id="rId9" Type="http://schemas.openxmlformats.org/officeDocument/2006/relationships/image" Target="../media/image36.png"/></Relationships>
</file>

<file path=ppt/slides/_rels/slide35.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37.png"/><Relationship Id="rId1" Type="http://schemas.openxmlformats.org/officeDocument/2006/relationships/slideLayout" Target="../slideLayouts/slideLayout18.xml"/><Relationship Id="rId4" Type="http://schemas.openxmlformats.org/officeDocument/2006/relationships/image" Target="../media/image380.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38.png"/><Relationship Id="rId1" Type="http://schemas.openxmlformats.org/officeDocument/2006/relationships/slideLayout" Target="../slideLayouts/slideLayout37.xml"/><Relationship Id="rId4" Type="http://schemas.openxmlformats.org/officeDocument/2006/relationships/image" Target="../media/image1.png"/></Relationships>
</file>

<file path=ppt/slides/_rels/slide45.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38.png"/><Relationship Id="rId1" Type="http://schemas.openxmlformats.org/officeDocument/2006/relationships/slideLayout" Target="../slideLayouts/slideLayout37.xml"/><Relationship Id="rId4" Type="http://schemas.openxmlformats.org/officeDocument/2006/relationships/image" Target="../media/image1.png"/></Relationships>
</file>

<file path=ppt/slides/_rels/slide46.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38.png"/><Relationship Id="rId1" Type="http://schemas.openxmlformats.org/officeDocument/2006/relationships/slideLayout" Target="../slideLayouts/slideLayout37.xml"/><Relationship Id="rId4" Type="http://schemas.openxmlformats.org/officeDocument/2006/relationships/image" Target="../media/image1.png"/></Relationships>
</file>

<file path=ppt/slides/_rels/slide47.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38.png"/><Relationship Id="rId1" Type="http://schemas.openxmlformats.org/officeDocument/2006/relationships/slideLayout" Target="../slideLayouts/slideLayout37.xml"/><Relationship Id="rId4" Type="http://schemas.openxmlformats.org/officeDocument/2006/relationships/image" Target="../media/image1.png"/></Relationships>
</file>

<file path=ppt/slides/_rels/slide48.xml.rels><?xml version="1.0" encoding="UTF-8" standalone="yes"?>
<Relationships xmlns="http://schemas.openxmlformats.org/package/2006/relationships"><Relationship Id="rId3" Type="http://schemas.openxmlformats.org/officeDocument/2006/relationships/hyperlink" Target="https://corporatefinanceinstitute.com/resources/knowledge/accounting/cost-of-goods-manufactured-cogm/" TargetMode="External"/><Relationship Id="rId2" Type="http://schemas.openxmlformats.org/officeDocument/2006/relationships/image" Target="../media/image1.png"/><Relationship Id="rId1" Type="http://schemas.openxmlformats.org/officeDocument/2006/relationships/slideLayout" Target="../slideLayouts/slideLayout36.xml"/><Relationship Id="rId4" Type="http://schemas.openxmlformats.org/officeDocument/2006/relationships/hyperlink" Target="https://corporatefinanceinstitute.com/resources/knowledge/accounting/gross-profit/" TargetMode="External"/></Relationships>
</file>

<file path=ppt/slides/_rels/slide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8" Type="http://schemas.openxmlformats.org/officeDocument/2006/relationships/image" Target="../media/image18.jpg"/><Relationship Id="rId3" Type="http://schemas.microsoft.com/office/2007/relationships/hdphoto" Target="../media/hdphoto2.wdp"/><Relationship Id="rId7" Type="http://schemas.openxmlformats.org/officeDocument/2006/relationships/image" Target="../media/image17.png"/><Relationship Id="rId12"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Layout" Target="../slideLayouts/slideLayout61.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image" Target="../media/image15.jpeg"/><Relationship Id="rId10" Type="http://schemas.microsoft.com/office/2007/relationships/hdphoto" Target="../media/hdphoto3.wdp"/><Relationship Id="rId4" Type="http://schemas.openxmlformats.org/officeDocument/2006/relationships/image" Target="../media/image14.png"/><Relationship Id="rId9" Type="http://schemas.openxmlformats.org/officeDocument/2006/relationships/image" Target="../media/image19.png"/></Relationships>
</file>

<file path=ppt/slides/_rels/slide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6.xml"/></Relationships>
</file>

<file path=ppt/slides/_rels/slide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6.xml"/></Relationships>
</file>

<file path=ppt/slides/_rels/slide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6.xml"/></Relationships>
</file>

<file path=ppt/slides/_rels/slide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6.xml"/></Relationships>
</file>

<file path=ppt/slides/_rels/slide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6.xml"/></Relationships>
</file>

<file path=ppt/slides/_rels/slide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6.xml"/></Relationships>
</file>

<file path=ppt/slides/_rels/slide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6.xml"/></Relationships>
</file>

<file path=ppt/slides/_rels/slide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6.xml"/></Relationships>
</file>

<file path=ppt/slides/_rels/slide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7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png"/><Relationship Id="rId1" Type="http://schemas.openxmlformats.org/officeDocument/2006/relationships/slideLayout" Target="../slideLayouts/slideLayout3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5.xml.rels><?xml version="1.0" encoding="UTF-8" standalone="yes"?>
<Relationships xmlns="http://schemas.openxmlformats.org/package/2006/relationships"><Relationship Id="rId8" Type="http://schemas.openxmlformats.org/officeDocument/2006/relationships/image" Target="../media/image45.jpg"/><Relationship Id="rId3" Type="http://schemas.openxmlformats.org/officeDocument/2006/relationships/image" Target="../media/image40.jpeg"/><Relationship Id="rId7" Type="http://schemas.openxmlformats.org/officeDocument/2006/relationships/image" Target="../media/image44.jpg"/><Relationship Id="rId2" Type="http://schemas.openxmlformats.org/officeDocument/2006/relationships/image" Target="../media/image1.png"/><Relationship Id="rId1" Type="http://schemas.openxmlformats.org/officeDocument/2006/relationships/slideLayout" Target="../slideLayouts/slideLayout7.xml"/><Relationship Id="rId6" Type="http://schemas.openxmlformats.org/officeDocument/2006/relationships/image" Target="../media/image43.jpg"/><Relationship Id="rId5" Type="http://schemas.openxmlformats.org/officeDocument/2006/relationships/image" Target="../media/image42.jpg"/><Relationship Id="rId4" Type="http://schemas.openxmlformats.org/officeDocument/2006/relationships/image" Target="../media/image41.jp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5.xml"/><Relationship Id="rId6" Type="http://schemas.openxmlformats.org/officeDocument/2006/relationships/image" Target="../media/image1.png"/><Relationship Id="rId5" Type="http://schemas.openxmlformats.org/officeDocument/2006/relationships/image" Target="../media/image6.jpeg"/><Relationship Id="rId4" Type="http://schemas.openxmlformats.org/officeDocument/2006/relationships/image" Target="../media/image5.jpeg"/></Relationships>
</file>

<file path=ppt/slides/_rels/slide7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png"/><Relationship Id="rId1" Type="http://schemas.openxmlformats.org/officeDocument/2006/relationships/slideLayout" Target="../slideLayouts/slideLayout18.xml"/><Relationship Id="rId4" Type="http://schemas.microsoft.com/office/2007/relationships/hdphoto" Target="../media/hdphoto4.wdp"/></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png"/><Relationship Id="rId1" Type="http://schemas.openxmlformats.org/officeDocument/2006/relationships/slideLayout" Target="../slideLayouts/slideLayout18.xml"/><Relationship Id="rId4" Type="http://schemas.microsoft.com/office/2007/relationships/hdphoto" Target="../media/hdphoto5.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6242F6-CA1E-42FB-BB1A-B13E71A7D987}"/>
              </a:ext>
            </a:extLst>
          </p:cNvPr>
          <p:cNvSpPr/>
          <p:nvPr/>
        </p:nvSpPr>
        <p:spPr>
          <a:xfrm>
            <a:off x="-2286" y="-13209"/>
            <a:ext cx="5760000" cy="6871209"/>
          </a:xfrm>
          <a:prstGeom prst="rect">
            <a:avLst/>
          </a:prstGeom>
          <a:solidFill>
            <a:srgbClr val="3984A3"/>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13" name="TextBox 12">
            <a:extLst>
              <a:ext uri="{FF2B5EF4-FFF2-40B4-BE49-F238E27FC236}">
                <a16:creationId xmlns:a16="http://schemas.microsoft.com/office/drawing/2014/main" id="{E4F23697-1BEC-4F6B-A1E1-CF2064D07358}"/>
              </a:ext>
            </a:extLst>
          </p:cNvPr>
          <p:cNvSpPr txBox="1"/>
          <p:nvPr/>
        </p:nvSpPr>
        <p:spPr>
          <a:xfrm>
            <a:off x="9268286" y="6267597"/>
            <a:ext cx="2923714"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D96800"/>
                </a:solidFill>
                <a:effectLst/>
                <a:uLnTx/>
                <a:uFillTx/>
                <a:latin typeface="Lato Light" panose="020F0502020204030203"/>
                <a:ea typeface="+mn-ea"/>
                <a:cs typeface="+mn-cs"/>
              </a:rPr>
              <a:t>Tools, Content &amp; Templat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Lato Light" panose="020F0502020204030203"/>
                <a:ea typeface="+mn-ea"/>
                <a:cs typeface="+mn-cs"/>
              </a:rPr>
              <a:t>Hand built using experience &amp; insight </a:t>
            </a:r>
          </a:p>
        </p:txBody>
      </p:sp>
      <p:pic>
        <p:nvPicPr>
          <p:cNvPr id="14" name="Picture 13" descr="Logo&#10;&#10;Description automatically generated">
            <a:extLst>
              <a:ext uri="{FF2B5EF4-FFF2-40B4-BE49-F238E27FC236}">
                <a16:creationId xmlns:a16="http://schemas.microsoft.com/office/drawing/2014/main" id="{F4A6D227-4561-4949-BB83-BE740B69EA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09024" y="199287"/>
            <a:ext cx="1601128" cy="372663"/>
          </a:xfrm>
          <a:prstGeom prst="rect">
            <a:avLst/>
          </a:prstGeom>
        </p:spPr>
      </p:pic>
      <p:sp>
        <p:nvSpPr>
          <p:cNvPr id="15" name="TextBox 14">
            <a:extLst>
              <a:ext uri="{FF2B5EF4-FFF2-40B4-BE49-F238E27FC236}">
                <a16:creationId xmlns:a16="http://schemas.microsoft.com/office/drawing/2014/main" id="{50709A3E-8602-46AD-B797-5EAFDCDBDC85}"/>
              </a:ext>
            </a:extLst>
          </p:cNvPr>
          <p:cNvSpPr txBox="1"/>
          <p:nvPr/>
        </p:nvSpPr>
        <p:spPr>
          <a:xfrm>
            <a:off x="1" y="2900574"/>
            <a:ext cx="5746282" cy="523220"/>
          </a:xfrm>
          <a:prstGeom prst="rect">
            <a:avLst/>
          </a:prstGeom>
          <a:noFill/>
        </p:spPr>
        <p:txBody>
          <a:bodyPr wrap="square" rtlCol="0">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lumMod val="95000"/>
                  </a:prstClr>
                </a:solidFill>
                <a:effectLst/>
                <a:uLnTx/>
                <a:uFillTx/>
                <a:latin typeface="Poppins" panose="00000500000000000000" pitchFamily="2" charset="0"/>
                <a:ea typeface="MS Gothic" panose="020B0609070205080204" pitchFamily="49" charset="-128"/>
                <a:cs typeface="Poppins" panose="00000500000000000000" pitchFamily="2" charset="0"/>
              </a:rPr>
              <a:t>Trade Marketing Plans </a:t>
            </a:r>
          </a:p>
        </p:txBody>
      </p:sp>
      <p:sp>
        <p:nvSpPr>
          <p:cNvPr id="17" name="TextBox 16">
            <a:extLst>
              <a:ext uri="{FF2B5EF4-FFF2-40B4-BE49-F238E27FC236}">
                <a16:creationId xmlns:a16="http://schemas.microsoft.com/office/drawing/2014/main" id="{5E97F481-60A8-4455-BC7E-3C6E20C88789}"/>
              </a:ext>
            </a:extLst>
          </p:cNvPr>
          <p:cNvSpPr txBox="1"/>
          <p:nvPr/>
        </p:nvSpPr>
        <p:spPr>
          <a:xfrm>
            <a:off x="143391" y="5440664"/>
            <a:ext cx="5468645" cy="369332"/>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Lato Light" panose="020F0502020204030203"/>
                <a:ea typeface="+mn-ea"/>
                <a:cs typeface="+mn-cs"/>
              </a:rPr>
              <a:t>Sales &amp; Marketing Fundamentals. </a:t>
            </a:r>
          </a:p>
        </p:txBody>
      </p:sp>
      <p:sp>
        <p:nvSpPr>
          <p:cNvPr id="11" name="Rectangle 10">
            <a:extLst>
              <a:ext uri="{FF2B5EF4-FFF2-40B4-BE49-F238E27FC236}">
                <a16:creationId xmlns:a16="http://schemas.microsoft.com/office/drawing/2014/main" id="{A8F0AC1C-972A-F2F9-95B2-6197829C058C}"/>
              </a:ext>
            </a:extLst>
          </p:cNvPr>
          <p:cNvSpPr/>
          <p:nvPr/>
        </p:nvSpPr>
        <p:spPr>
          <a:xfrm>
            <a:off x="0" y="5937662"/>
            <a:ext cx="5760000" cy="92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Lato Light"/>
              <a:ea typeface="+mn-ea"/>
              <a:cs typeface="+mn-cs"/>
            </a:endParaRPr>
          </a:p>
        </p:txBody>
      </p:sp>
      <p:sp>
        <p:nvSpPr>
          <p:cNvPr id="21" name="TextBox 20">
            <a:extLst>
              <a:ext uri="{FF2B5EF4-FFF2-40B4-BE49-F238E27FC236}">
                <a16:creationId xmlns:a16="http://schemas.microsoft.com/office/drawing/2014/main" id="{C2B943F9-3DF2-7055-7DC5-9F94603624AD}"/>
              </a:ext>
            </a:extLst>
          </p:cNvPr>
          <p:cNvSpPr txBox="1"/>
          <p:nvPr/>
        </p:nvSpPr>
        <p:spPr>
          <a:xfrm>
            <a:off x="-171198" y="6037266"/>
            <a:ext cx="2701337" cy="584775"/>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Lato Light" panose="020F0502020204030203"/>
                <a:ea typeface="+mn-ea"/>
                <a:cs typeface="+mn-cs"/>
              </a:rPr>
              <a:t>UpskilPRO e Institute for Sales &amp; Marketing </a:t>
            </a:r>
          </a:p>
        </p:txBody>
      </p:sp>
      <p:grpSp>
        <p:nvGrpSpPr>
          <p:cNvPr id="2" name="Group 1">
            <a:extLst>
              <a:ext uri="{FF2B5EF4-FFF2-40B4-BE49-F238E27FC236}">
                <a16:creationId xmlns:a16="http://schemas.microsoft.com/office/drawing/2014/main" id="{565B190F-2259-40D0-F0A3-463AF60102AE}"/>
              </a:ext>
            </a:extLst>
          </p:cNvPr>
          <p:cNvGrpSpPr/>
          <p:nvPr/>
        </p:nvGrpSpPr>
        <p:grpSpPr>
          <a:xfrm>
            <a:off x="5198734" y="4462162"/>
            <a:ext cx="1055370" cy="1055370"/>
            <a:chOff x="7108613" y="4124330"/>
            <a:chExt cx="1055370" cy="1055370"/>
          </a:xfrm>
        </p:grpSpPr>
        <p:sp>
          <p:nvSpPr>
            <p:cNvPr id="3" name="Oval 2">
              <a:extLst>
                <a:ext uri="{FF2B5EF4-FFF2-40B4-BE49-F238E27FC236}">
                  <a16:creationId xmlns:a16="http://schemas.microsoft.com/office/drawing/2014/main" id="{B13CF234-3E26-BC0F-BA5E-5C9B9D6BA978}"/>
                </a:ext>
              </a:extLst>
            </p:cNvPr>
            <p:cNvSpPr/>
            <p:nvPr/>
          </p:nvSpPr>
          <p:spPr>
            <a:xfrm>
              <a:off x="7108613" y="4124330"/>
              <a:ext cx="1055370" cy="1055370"/>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Light"/>
                <a:ea typeface="+mn-ea"/>
                <a:cs typeface="+mn-cs"/>
              </a:endParaRPr>
            </a:p>
          </p:txBody>
        </p:sp>
        <p:sp>
          <p:nvSpPr>
            <p:cNvPr id="5" name="Google Shape;104;p13">
              <a:extLst>
                <a:ext uri="{FF2B5EF4-FFF2-40B4-BE49-F238E27FC236}">
                  <a16:creationId xmlns:a16="http://schemas.microsoft.com/office/drawing/2014/main" id="{FA2B2BC9-5BBF-801E-39A4-2BDB472C35DB}"/>
                </a:ext>
              </a:extLst>
            </p:cNvPr>
            <p:cNvSpPr/>
            <p:nvPr/>
          </p:nvSpPr>
          <p:spPr>
            <a:xfrm>
              <a:off x="7322078" y="4349750"/>
              <a:ext cx="631825" cy="550862"/>
            </a:xfrm>
            <a:custGeom>
              <a:avLst/>
              <a:gdLst/>
              <a:ahLst/>
              <a:cxnLst/>
              <a:rect l="l" t="t" r="r" b="b"/>
              <a:pathLst>
                <a:path w="145" h="126" extrusionOk="0">
                  <a:moveTo>
                    <a:pt x="129" y="126"/>
                  </a:moveTo>
                  <a:cubicBezTo>
                    <a:pt x="17" y="126"/>
                    <a:pt x="17" y="126"/>
                    <a:pt x="17" y="126"/>
                  </a:cubicBezTo>
                  <a:cubicBezTo>
                    <a:pt x="8" y="126"/>
                    <a:pt x="0" y="118"/>
                    <a:pt x="0" y="109"/>
                  </a:cubicBezTo>
                  <a:cubicBezTo>
                    <a:pt x="0" y="81"/>
                    <a:pt x="0" y="81"/>
                    <a:pt x="0" y="81"/>
                  </a:cubicBezTo>
                  <a:cubicBezTo>
                    <a:pt x="0" y="80"/>
                    <a:pt x="1" y="78"/>
                    <a:pt x="3" y="78"/>
                  </a:cubicBezTo>
                  <a:cubicBezTo>
                    <a:pt x="5" y="78"/>
                    <a:pt x="6" y="80"/>
                    <a:pt x="6" y="81"/>
                  </a:cubicBezTo>
                  <a:cubicBezTo>
                    <a:pt x="6" y="109"/>
                    <a:pt x="6" y="109"/>
                    <a:pt x="6" y="109"/>
                  </a:cubicBezTo>
                  <a:cubicBezTo>
                    <a:pt x="6" y="115"/>
                    <a:pt x="11" y="120"/>
                    <a:pt x="17" y="120"/>
                  </a:cubicBezTo>
                  <a:cubicBezTo>
                    <a:pt x="129" y="120"/>
                    <a:pt x="129" y="120"/>
                    <a:pt x="129" y="120"/>
                  </a:cubicBezTo>
                  <a:cubicBezTo>
                    <a:pt x="134" y="120"/>
                    <a:pt x="139" y="115"/>
                    <a:pt x="139" y="109"/>
                  </a:cubicBezTo>
                  <a:cubicBezTo>
                    <a:pt x="139" y="82"/>
                    <a:pt x="139" y="82"/>
                    <a:pt x="139" y="82"/>
                  </a:cubicBezTo>
                  <a:cubicBezTo>
                    <a:pt x="139" y="80"/>
                    <a:pt x="141" y="79"/>
                    <a:pt x="142" y="79"/>
                  </a:cubicBezTo>
                  <a:cubicBezTo>
                    <a:pt x="144" y="79"/>
                    <a:pt x="145" y="80"/>
                    <a:pt x="145" y="82"/>
                  </a:cubicBezTo>
                  <a:cubicBezTo>
                    <a:pt x="145" y="109"/>
                    <a:pt x="145" y="109"/>
                    <a:pt x="145" y="109"/>
                  </a:cubicBezTo>
                  <a:cubicBezTo>
                    <a:pt x="145" y="118"/>
                    <a:pt x="138" y="126"/>
                    <a:pt x="129" y="126"/>
                  </a:cubicBezTo>
                  <a:close/>
                  <a:moveTo>
                    <a:pt x="79" y="90"/>
                  </a:moveTo>
                  <a:cubicBezTo>
                    <a:pt x="67" y="90"/>
                    <a:pt x="67" y="90"/>
                    <a:pt x="67" y="90"/>
                  </a:cubicBezTo>
                  <a:cubicBezTo>
                    <a:pt x="62" y="90"/>
                    <a:pt x="59" y="86"/>
                    <a:pt x="59" y="81"/>
                  </a:cubicBezTo>
                  <a:cubicBezTo>
                    <a:pt x="59" y="67"/>
                    <a:pt x="59" y="67"/>
                    <a:pt x="59" y="67"/>
                  </a:cubicBezTo>
                  <a:cubicBezTo>
                    <a:pt x="59" y="62"/>
                    <a:pt x="62" y="58"/>
                    <a:pt x="67" y="58"/>
                  </a:cubicBezTo>
                  <a:cubicBezTo>
                    <a:pt x="79" y="58"/>
                    <a:pt x="79" y="58"/>
                    <a:pt x="79" y="58"/>
                  </a:cubicBezTo>
                  <a:cubicBezTo>
                    <a:pt x="83" y="58"/>
                    <a:pt x="87" y="62"/>
                    <a:pt x="87" y="67"/>
                  </a:cubicBezTo>
                  <a:cubicBezTo>
                    <a:pt x="87" y="81"/>
                    <a:pt x="87" y="81"/>
                    <a:pt x="87" y="81"/>
                  </a:cubicBezTo>
                  <a:cubicBezTo>
                    <a:pt x="87" y="86"/>
                    <a:pt x="83" y="90"/>
                    <a:pt x="79" y="90"/>
                  </a:cubicBezTo>
                  <a:close/>
                  <a:moveTo>
                    <a:pt x="67" y="64"/>
                  </a:moveTo>
                  <a:cubicBezTo>
                    <a:pt x="66" y="64"/>
                    <a:pt x="65" y="65"/>
                    <a:pt x="65" y="67"/>
                  </a:cubicBezTo>
                  <a:cubicBezTo>
                    <a:pt x="65" y="81"/>
                    <a:pt x="65" y="81"/>
                    <a:pt x="65" y="81"/>
                  </a:cubicBezTo>
                  <a:cubicBezTo>
                    <a:pt x="65" y="83"/>
                    <a:pt x="66" y="84"/>
                    <a:pt x="67" y="84"/>
                  </a:cubicBezTo>
                  <a:cubicBezTo>
                    <a:pt x="79" y="84"/>
                    <a:pt x="79" y="84"/>
                    <a:pt x="79" y="84"/>
                  </a:cubicBezTo>
                  <a:cubicBezTo>
                    <a:pt x="80" y="84"/>
                    <a:pt x="81" y="83"/>
                    <a:pt x="81" y="81"/>
                  </a:cubicBezTo>
                  <a:cubicBezTo>
                    <a:pt x="81" y="67"/>
                    <a:pt x="81" y="67"/>
                    <a:pt x="81" y="67"/>
                  </a:cubicBezTo>
                  <a:cubicBezTo>
                    <a:pt x="81" y="65"/>
                    <a:pt x="80" y="64"/>
                    <a:pt x="79" y="64"/>
                  </a:cubicBezTo>
                  <a:lnTo>
                    <a:pt x="67" y="64"/>
                  </a:lnTo>
                  <a:close/>
                  <a:moveTo>
                    <a:pt x="129" y="77"/>
                  </a:moveTo>
                  <a:cubicBezTo>
                    <a:pt x="96" y="77"/>
                    <a:pt x="96" y="77"/>
                    <a:pt x="96" y="77"/>
                  </a:cubicBezTo>
                  <a:cubicBezTo>
                    <a:pt x="94" y="77"/>
                    <a:pt x="93" y="76"/>
                    <a:pt x="93" y="74"/>
                  </a:cubicBezTo>
                  <a:cubicBezTo>
                    <a:pt x="93" y="72"/>
                    <a:pt x="94" y="71"/>
                    <a:pt x="96" y="71"/>
                  </a:cubicBezTo>
                  <a:cubicBezTo>
                    <a:pt x="129" y="71"/>
                    <a:pt x="129" y="71"/>
                    <a:pt x="129" y="71"/>
                  </a:cubicBezTo>
                  <a:cubicBezTo>
                    <a:pt x="134" y="71"/>
                    <a:pt x="139" y="66"/>
                    <a:pt x="139" y="60"/>
                  </a:cubicBezTo>
                  <a:cubicBezTo>
                    <a:pt x="139" y="39"/>
                    <a:pt x="139" y="39"/>
                    <a:pt x="139" y="39"/>
                  </a:cubicBezTo>
                  <a:cubicBezTo>
                    <a:pt x="139" y="33"/>
                    <a:pt x="134" y="28"/>
                    <a:pt x="129" y="28"/>
                  </a:cubicBezTo>
                  <a:cubicBezTo>
                    <a:pt x="17" y="28"/>
                    <a:pt x="17" y="28"/>
                    <a:pt x="17" y="28"/>
                  </a:cubicBezTo>
                  <a:cubicBezTo>
                    <a:pt x="11" y="28"/>
                    <a:pt x="6" y="33"/>
                    <a:pt x="6" y="39"/>
                  </a:cubicBezTo>
                  <a:cubicBezTo>
                    <a:pt x="6" y="60"/>
                    <a:pt x="6" y="60"/>
                    <a:pt x="6" y="60"/>
                  </a:cubicBezTo>
                  <a:cubicBezTo>
                    <a:pt x="6" y="66"/>
                    <a:pt x="11" y="71"/>
                    <a:pt x="17" y="71"/>
                  </a:cubicBezTo>
                  <a:cubicBezTo>
                    <a:pt x="50" y="71"/>
                    <a:pt x="50" y="71"/>
                    <a:pt x="50" y="71"/>
                  </a:cubicBezTo>
                  <a:cubicBezTo>
                    <a:pt x="52" y="71"/>
                    <a:pt x="53" y="72"/>
                    <a:pt x="53" y="74"/>
                  </a:cubicBezTo>
                  <a:cubicBezTo>
                    <a:pt x="53" y="76"/>
                    <a:pt x="52" y="77"/>
                    <a:pt x="50" y="77"/>
                  </a:cubicBezTo>
                  <a:cubicBezTo>
                    <a:pt x="17" y="77"/>
                    <a:pt x="17" y="77"/>
                    <a:pt x="17" y="77"/>
                  </a:cubicBezTo>
                  <a:cubicBezTo>
                    <a:pt x="8" y="77"/>
                    <a:pt x="0" y="70"/>
                    <a:pt x="0" y="60"/>
                  </a:cubicBezTo>
                  <a:cubicBezTo>
                    <a:pt x="0" y="39"/>
                    <a:pt x="0" y="39"/>
                    <a:pt x="0" y="39"/>
                  </a:cubicBezTo>
                  <a:cubicBezTo>
                    <a:pt x="0" y="30"/>
                    <a:pt x="8" y="22"/>
                    <a:pt x="17" y="22"/>
                  </a:cubicBezTo>
                  <a:cubicBezTo>
                    <a:pt x="129" y="22"/>
                    <a:pt x="129" y="22"/>
                    <a:pt x="129" y="22"/>
                  </a:cubicBezTo>
                  <a:cubicBezTo>
                    <a:pt x="138" y="22"/>
                    <a:pt x="145" y="30"/>
                    <a:pt x="145" y="39"/>
                  </a:cubicBezTo>
                  <a:cubicBezTo>
                    <a:pt x="145" y="63"/>
                    <a:pt x="145" y="63"/>
                    <a:pt x="145" y="63"/>
                  </a:cubicBezTo>
                  <a:cubicBezTo>
                    <a:pt x="145" y="63"/>
                    <a:pt x="145" y="64"/>
                    <a:pt x="145" y="64"/>
                  </a:cubicBezTo>
                  <a:cubicBezTo>
                    <a:pt x="143" y="72"/>
                    <a:pt x="137" y="77"/>
                    <a:pt x="129" y="77"/>
                  </a:cubicBezTo>
                  <a:close/>
                  <a:moveTo>
                    <a:pt x="97" y="17"/>
                  </a:moveTo>
                  <a:cubicBezTo>
                    <a:pt x="95" y="17"/>
                    <a:pt x="94" y="15"/>
                    <a:pt x="94" y="13"/>
                  </a:cubicBezTo>
                  <a:cubicBezTo>
                    <a:pt x="94" y="9"/>
                    <a:pt x="90" y="6"/>
                    <a:pt x="85" y="6"/>
                  </a:cubicBezTo>
                  <a:cubicBezTo>
                    <a:pt x="61" y="6"/>
                    <a:pt x="61" y="6"/>
                    <a:pt x="61" y="6"/>
                  </a:cubicBezTo>
                  <a:cubicBezTo>
                    <a:pt x="56" y="6"/>
                    <a:pt x="52" y="9"/>
                    <a:pt x="52" y="13"/>
                  </a:cubicBezTo>
                  <a:cubicBezTo>
                    <a:pt x="52" y="15"/>
                    <a:pt x="50" y="17"/>
                    <a:pt x="49" y="17"/>
                  </a:cubicBezTo>
                  <a:cubicBezTo>
                    <a:pt x="47" y="17"/>
                    <a:pt x="45" y="15"/>
                    <a:pt x="45" y="13"/>
                  </a:cubicBezTo>
                  <a:cubicBezTo>
                    <a:pt x="45" y="6"/>
                    <a:pt x="52" y="0"/>
                    <a:pt x="61" y="0"/>
                  </a:cubicBezTo>
                  <a:cubicBezTo>
                    <a:pt x="85" y="0"/>
                    <a:pt x="85" y="0"/>
                    <a:pt x="85" y="0"/>
                  </a:cubicBezTo>
                  <a:cubicBezTo>
                    <a:pt x="93" y="0"/>
                    <a:pt x="100" y="6"/>
                    <a:pt x="100" y="13"/>
                  </a:cubicBezTo>
                  <a:cubicBezTo>
                    <a:pt x="100" y="15"/>
                    <a:pt x="99" y="17"/>
                    <a:pt x="97" y="17"/>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grpSp>
      <p:grpSp>
        <p:nvGrpSpPr>
          <p:cNvPr id="10" name="Group 9">
            <a:extLst>
              <a:ext uri="{FF2B5EF4-FFF2-40B4-BE49-F238E27FC236}">
                <a16:creationId xmlns:a16="http://schemas.microsoft.com/office/drawing/2014/main" id="{60A4C5DD-01B8-0662-32B9-12366D78B57D}"/>
              </a:ext>
            </a:extLst>
          </p:cNvPr>
          <p:cNvGrpSpPr/>
          <p:nvPr/>
        </p:nvGrpSpPr>
        <p:grpSpPr>
          <a:xfrm>
            <a:off x="6720341" y="2359285"/>
            <a:ext cx="4623902" cy="1584927"/>
            <a:chOff x="6438987" y="2499961"/>
            <a:chExt cx="4623902" cy="1584927"/>
          </a:xfrm>
        </p:grpSpPr>
        <p:sp>
          <p:nvSpPr>
            <p:cNvPr id="7" name="Rectangle 6">
              <a:extLst>
                <a:ext uri="{FF2B5EF4-FFF2-40B4-BE49-F238E27FC236}">
                  <a16:creationId xmlns:a16="http://schemas.microsoft.com/office/drawing/2014/main" id="{693BF65E-9573-1BDA-9CE4-E021C94FC7F8}"/>
                </a:ext>
              </a:extLst>
            </p:cNvPr>
            <p:cNvSpPr/>
            <p:nvPr/>
          </p:nvSpPr>
          <p:spPr>
            <a:xfrm>
              <a:off x="6833226" y="2499961"/>
              <a:ext cx="4229663" cy="4369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pic>
          <p:nvPicPr>
            <p:cNvPr id="1026" name="Picture 2" descr="SCM banner web icon vector illustration concept for Supply Chain Management with icon of management, analysis, logistic, ttm, plan, distribution, procurement, and profit&#10;                        ">
              <a:extLst>
                <a:ext uri="{FF2B5EF4-FFF2-40B4-BE49-F238E27FC236}">
                  <a16:creationId xmlns:a16="http://schemas.microsoft.com/office/drawing/2014/main" id="{A7B5B334-856E-AAF4-5600-49BD4A9903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7250" y="2826525"/>
              <a:ext cx="4210272" cy="125836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ADE08CAB-FF94-7504-9663-87897CF9C15A}"/>
                </a:ext>
              </a:extLst>
            </p:cNvPr>
            <p:cNvSpPr/>
            <p:nvPr/>
          </p:nvSpPr>
          <p:spPr>
            <a:xfrm>
              <a:off x="6638192" y="2809142"/>
              <a:ext cx="4198327" cy="58029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BD7AA0B0-B891-B97B-6E9D-8856CC601784}"/>
                </a:ext>
              </a:extLst>
            </p:cNvPr>
            <p:cNvSpPr txBox="1"/>
            <p:nvPr/>
          </p:nvSpPr>
          <p:spPr>
            <a:xfrm>
              <a:off x="6438987" y="3022911"/>
              <a:ext cx="4605628" cy="400110"/>
            </a:xfrm>
            <a:prstGeom prst="rect">
              <a:avLst/>
            </a:prstGeom>
            <a:solidFill>
              <a:schemeClr val="bg1">
                <a:alpha val="1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lumMod val="65000"/>
                      <a:lumOff val="35000"/>
                    </a:prstClr>
                  </a:solidFill>
                  <a:effectLst/>
                  <a:uLnTx/>
                  <a:uFillTx/>
                  <a:latin typeface="Poppins" panose="00000500000000000000" pitchFamily="2" charset="0"/>
                  <a:ea typeface="+mn-ea"/>
                  <a:cs typeface="Poppins" panose="00000500000000000000" pitchFamily="2" charset="0"/>
                </a:rPr>
                <a:t>Trade Marketing Plans </a:t>
              </a:r>
            </a:p>
          </p:txBody>
        </p:sp>
      </p:grpSp>
    </p:spTree>
    <p:extLst>
      <p:ext uri="{BB962C8B-B14F-4D97-AF65-F5344CB8AC3E}">
        <p14:creationId xmlns:p14="http://schemas.microsoft.com/office/powerpoint/2010/main" val="18054028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6C486B8-B2CE-D2AA-37DD-44943C227CB9}"/>
              </a:ext>
            </a:extLst>
          </p:cNvPr>
          <p:cNvSpPr txBox="1"/>
          <p:nvPr/>
        </p:nvSpPr>
        <p:spPr>
          <a:xfrm>
            <a:off x="3123119" y="1410063"/>
            <a:ext cx="4385677" cy="646331"/>
          </a:xfrm>
          <a:prstGeom prst="rect">
            <a:avLst/>
          </a:prstGeom>
          <a:solidFill>
            <a:schemeClr val="accent3">
              <a:lumMod val="40000"/>
              <a:lumOff val="6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Lato Light"/>
                <a:ea typeface="+mn-ea"/>
                <a:cs typeface="+mn-cs"/>
              </a:rPr>
              <a:t>An objective is what you want to achie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Lato Light"/>
                <a:ea typeface="+mn-ea"/>
                <a:cs typeface="+mn-cs"/>
              </a:rPr>
              <a:t>A strategy is how you plan to achieve your objectives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Lato Light"/>
                <a:ea typeface="+mn-ea"/>
                <a:cs typeface="+mn-cs"/>
              </a:rPr>
              <a:t>Tactics are a series of steps engaged in to deliver the strategy  </a:t>
            </a:r>
          </a:p>
        </p:txBody>
      </p:sp>
      <p:sp>
        <p:nvSpPr>
          <p:cNvPr id="7" name="TextBox 6">
            <a:extLst>
              <a:ext uri="{FF2B5EF4-FFF2-40B4-BE49-F238E27FC236}">
                <a16:creationId xmlns:a16="http://schemas.microsoft.com/office/drawing/2014/main" id="{8D473A24-9D53-69C5-594B-FFCB2675807C}"/>
              </a:ext>
            </a:extLst>
          </p:cNvPr>
          <p:cNvSpPr txBox="1"/>
          <p:nvPr/>
        </p:nvSpPr>
        <p:spPr>
          <a:xfrm>
            <a:off x="355851" y="2464991"/>
            <a:ext cx="7411736" cy="29700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Lato Light"/>
                <a:ea typeface="+mn-ea"/>
                <a:cs typeface="+mn-cs"/>
              </a:rPr>
              <a:t>There can be objectives and strategies for varying levels in trade market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dirty="0">
              <a:ln>
                <a:noFill/>
              </a:ln>
              <a:solidFill>
                <a:srgbClr val="000000"/>
              </a:solidFill>
              <a:effectLst/>
              <a:uLnTx/>
              <a:uFillTx/>
              <a:latin typeface="Lat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Lato Light"/>
                <a:ea typeface="+mn-ea"/>
                <a:cs typeface="+mn-cs"/>
              </a:rPr>
              <a:t>Overall Trade marketing objectives are brand driven and resultant in shelf offtake and market share gains in general versus identified competition, its important this aligns with the business and corporate dir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dirty="0">
              <a:ln>
                <a:noFill/>
              </a:ln>
              <a:solidFill>
                <a:srgbClr val="000000"/>
              </a:solidFill>
              <a:effectLst/>
              <a:uLnTx/>
              <a:uFillTx/>
              <a:latin typeface="Lat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Lato Light"/>
                <a:ea typeface="+mn-ea"/>
                <a:cs typeface="+mn-cs"/>
              </a:rPr>
              <a:t>Tactically for example, there can be branding objectives , category presence, POS, Display , Consumer engagement, displays, consumer contacts, volume offtake, market share improvement etc , all of which are framed differently and come one level below in the tactical engagement part, and strategies and pricing objectives and strateg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dirty="0">
              <a:ln>
                <a:noFill/>
              </a:ln>
              <a:solidFill>
                <a:srgbClr val="000000"/>
              </a:solidFill>
              <a:effectLst/>
              <a:uLnTx/>
              <a:uFillTx/>
              <a:latin typeface="Lat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Lato Light"/>
                <a:ea typeface="+mn-ea"/>
                <a:cs typeface="+mn-cs"/>
              </a:rPr>
              <a:t>However, the important point to remember about trade marketing objectives is that they are about products and markets. Common sense will confirm that it is only by selling something to someone that the company’s financial goals can be achieved, and that advertising, pricing, service levels, are the means (or tactics) by which we might succeed in doing th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1" u="none" strike="noStrike" kern="1200" cap="none" spc="0" normalizeH="0" baseline="0" noProof="0" dirty="0">
              <a:ln>
                <a:noFill/>
              </a:ln>
              <a:solidFill>
                <a:srgbClr val="000000"/>
              </a:solidFill>
              <a:effectLst/>
              <a:uLnTx/>
              <a:uFillTx/>
              <a:latin typeface="Lat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rgbClr val="000000"/>
                </a:solidFill>
                <a:effectLst/>
                <a:uLnTx/>
                <a:uFillTx/>
                <a:latin typeface="Lato Light"/>
                <a:ea typeface="+mn-ea"/>
                <a:cs typeface="+mn-cs"/>
              </a:rPr>
              <a:t>Objectives should be capable of measurement, Directional terms such as “maximize”, “minimize”, “penetrate”, “increase”, etc. are only acceptable if quantitative measurement can be attached to them. Measurement should be in terms of some, or all, of the following: sales volume, sales value, market share, profit, and percentage penetration of outlets (e.g. to have 25% of all retail outlets stocking our product by year 2).</a:t>
            </a:r>
            <a:endParaRPr kumimoji="0" lang="en-GB" sz="1100" b="0" i="1" u="none" strike="noStrike" kern="1200" cap="none" spc="0" normalizeH="0" baseline="0" noProof="0" dirty="0">
              <a:ln>
                <a:noFill/>
              </a:ln>
              <a:solidFill>
                <a:prstClr val="black"/>
              </a:solidFill>
              <a:effectLst/>
              <a:uLnTx/>
              <a:uFillTx/>
              <a:latin typeface="Lato Light"/>
              <a:ea typeface="+mn-ea"/>
              <a:cs typeface="+mn-cs"/>
            </a:endParaRPr>
          </a:p>
        </p:txBody>
      </p:sp>
      <p:sp>
        <p:nvSpPr>
          <p:cNvPr id="10" name="TextBox 9">
            <a:extLst>
              <a:ext uri="{FF2B5EF4-FFF2-40B4-BE49-F238E27FC236}">
                <a16:creationId xmlns:a16="http://schemas.microsoft.com/office/drawing/2014/main" id="{24171ED8-85ED-FAB6-E804-379BDC8D5724}"/>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ning Process</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 Objectives</a:t>
            </a:r>
          </a:p>
        </p:txBody>
      </p:sp>
      <p:pic>
        <p:nvPicPr>
          <p:cNvPr id="11" name="Picture 10" descr="Logo&#10;&#10;Description automatically generated">
            <a:extLst>
              <a:ext uri="{FF2B5EF4-FFF2-40B4-BE49-F238E27FC236}">
                <a16:creationId xmlns:a16="http://schemas.microsoft.com/office/drawing/2014/main" id="{382AE890-2BCD-4370-E2C0-958CAE0EFA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12" name="Footer Placeholder 3">
            <a:extLst>
              <a:ext uri="{FF2B5EF4-FFF2-40B4-BE49-F238E27FC236}">
                <a16:creationId xmlns:a16="http://schemas.microsoft.com/office/drawing/2014/main" id="{32206FFF-CC99-9BD6-BC9A-4DBD9F67BEB7}"/>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sp>
        <p:nvSpPr>
          <p:cNvPr id="15" name="TextBox 14">
            <a:extLst>
              <a:ext uri="{FF2B5EF4-FFF2-40B4-BE49-F238E27FC236}">
                <a16:creationId xmlns:a16="http://schemas.microsoft.com/office/drawing/2014/main" id="{87ADC6EB-3B40-053C-45A9-D9760476D82E}"/>
              </a:ext>
            </a:extLst>
          </p:cNvPr>
          <p:cNvSpPr txBox="1"/>
          <p:nvPr/>
        </p:nvSpPr>
        <p:spPr>
          <a:xfrm>
            <a:off x="7742552" y="3384495"/>
            <a:ext cx="3522467" cy="400110"/>
          </a:xfrm>
          <a:prstGeom prst="rect">
            <a:avLst/>
          </a:prstGeom>
          <a:solidFill>
            <a:schemeClr val="accent3">
              <a:lumMod val="40000"/>
              <a:lumOff val="6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1" u="none" strike="noStrike" kern="1200" cap="none" spc="0" normalizeH="0" baseline="0" noProof="0" dirty="0">
                <a:ln>
                  <a:noFill/>
                </a:ln>
                <a:solidFill>
                  <a:srgbClr val="000000"/>
                </a:solidFill>
                <a:effectLst/>
                <a:uLnTx/>
                <a:uFillTx/>
                <a:latin typeface="Lato Light"/>
                <a:ea typeface="+mn-ea"/>
                <a:cs typeface="+mn-cs"/>
              </a:rPr>
              <a:t>The elements of Trade Marketing are reflected in the below matrix requiring a prioritized manner of application </a:t>
            </a:r>
          </a:p>
        </p:txBody>
      </p:sp>
      <p:graphicFrame>
        <p:nvGraphicFramePr>
          <p:cNvPr id="2" name="Table 9">
            <a:extLst>
              <a:ext uri="{FF2B5EF4-FFF2-40B4-BE49-F238E27FC236}">
                <a16:creationId xmlns:a16="http://schemas.microsoft.com/office/drawing/2014/main" id="{1C748390-8EDC-0FF6-AAE4-CA63992F4EEB}"/>
              </a:ext>
            </a:extLst>
          </p:cNvPr>
          <p:cNvGraphicFramePr>
            <a:graphicFrameLocks noGrp="1"/>
          </p:cNvGraphicFramePr>
          <p:nvPr>
            <p:extLst>
              <p:ext uri="{D42A27DB-BD31-4B8C-83A1-F6EECF244321}">
                <p14:modId xmlns:p14="http://schemas.microsoft.com/office/powerpoint/2010/main" val="3536264314"/>
              </p:ext>
            </p:extLst>
          </p:nvPr>
        </p:nvGraphicFramePr>
        <p:xfrm>
          <a:off x="7760569" y="3842280"/>
          <a:ext cx="3504450" cy="756747"/>
        </p:xfrm>
        <a:graphic>
          <a:graphicData uri="http://schemas.openxmlformats.org/drawingml/2006/table">
            <a:tbl>
              <a:tblPr firstRow="1" bandRow="1">
                <a:tableStyleId>{5C22544A-7EE6-4342-B048-85BDC9FD1C3A}</a:tableStyleId>
              </a:tblPr>
              <a:tblGrid>
                <a:gridCol w="1168150">
                  <a:extLst>
                    <a:ext uri="{9D8B030D-6E8A-4147-A177-3AD203B41FA5}">
                      <a16:colId xmlns:a16="http://schemas.microsoft.com/office/drawing/2014/main" val="2372632144"/>
                    </a:ext>
                  </a:extLst>
                </a:gridCol>
                <a:gridCol w="1168150">
                  <a:extLst>
                    <a:ext uri="{9D8B030D-6E8A-4147-A177-3AD203B41FA5}">
                      <a16:colId xmlns:a16="http://schemas.microsoft.com/office/drawing/2014/main" val="3703410802"/>
                    </a:ext>
                  </a:extLst>
                </a:gridCol>
                <a:gridCol w="1168150">
                  <a:extLst>
                    <a:ext uri="{9D8B030D-6E8A-4147-A177-3AD203B41FA5}">
                      <a16:colId xmlns:a16="http://schemas.microsoft.com/office/drawing/2014/main" val="4207425327"/>
                    </a:ext>
                  </a:extLst>
                </a:gridCol>
              </a:tblGrid>
              <a:tr h="252249">
                <a:tc>
                  <a:txBody>
                    <a:bodyPr/>
                    <a:lstStyle/>
                    <a:p>
                      <a:pPr algn="ctr"/>
                      <a:r>
                        <a:rPr lang="en-GB" sz="800" b="1" dirty="0">
                          <a:solidFill>
                            <a:schemeClr val="bg1"/>
                          </a:solidFill>
                          <a:latin typeface="Poppins" panose="00000500000000000000" pitchFamily="2" charset="0"/>
                          <a:cs typeface="Poppins" panose="00000500000000000000" pitchFamily="2" charset="0"/>
                        </a:rPr>
                        <a:t>Marke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a:solidFill>
                            <a:schemeClr val="bg1"/>
                          </a:solidFill>
                          <a:latin typeface="Poppins" panose="00000500000000000000" pitchFamily="2" charset="0"/>
                          <a:cs typeface="Poppins" panose="00000500000000000000" pitchFamily="2" charset="0"/>
                        </a:rPr>
                        <a:t>Accou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GB" sz="800" b="1" dirty="0">
                          <a:solidFill>
                            <a:schemeClr val="bg1"/>
                          </a:solidFill>
                          <a:latin typeface="Poppins" panose="00000500000000000000" pitchFamily="2" charset="0"/>
                          <a:cs typeface="Poppins" panose="00000500000000000000" pitchFamily="2" charset="0"/>
                        </a:rPr>
                        <a:t>Categ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2521184923"/>
                  </a:ext>
                </a:extLst>
              </a:tr>
              <a:tr h="252249">
                <a:tc>
                  <a:txBody>
                    <a:bodyPr/>
                    <a:lstStyle/>
                    <a:p>
                      <a:pPr algn="ctr"/>
                      <a:r>
                        <a:rPr lang="en-GB" sz="800" b="1" dirty="0">
                          <a:solidFill>
                            <a:schemeClr val="bg1"/>
                          </a:solidFill>
                          <a:latin typeface="Poppins" panose="00000500000000000000" pitchFamily="2" charset="0"/>
                          <a:cs typeface="Poppins" panose="00000500000000000000" pitchFamily="2" charset="0"/>
                        </a:rPr>
                        <a:t>Portfoli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sz="800" b="1" dirty="0">
                          <a:solidFill>
                            <a:schemeClr val="bg1"/>
                          </a:solidFill>
                          <a:latin typeface="Poppins" panose="00000500000000000000" pitchFamily="2" charset="0"/>
                          <a:cs typeface="Poppins" panose="00000500000000000000" pitchFamily="2" charset="0"/>
                        </a:rPr>
                        <a:t>Budge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a:solidFill>
                            <a:schemeClr val="bg1"/>
                          </a:solidFill>
                          <a:latin typeface="Poppins" panose="00000500000000000000" pitchFamily="2" charset="0"/>
                          <a:cs typeface="Poppins" panose="00000500000000000000" pitchFamily="2" charset="0"/>
                        </a:rPr>
                        <a:t>Custom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486939959"/>
                  </a:ext>
                </a:extLst>
              </a:tr>
              <a:tr h="252249">
                <a:tc>
                  <a:txBody>
                    <a:bodyPr/>
                    <a:lstStyle/>
                    <a:p>
                      <a:pPr algn="ctr"/>
                      <a:r>
                        <a:rPr lang="en-GB" sz="800" b="1" dirty="0">
                          <a:solidFill>
                            <a:schemeClr val="bg1"/>
                          </a:solidFill>
                          <a:latin typeface="Poppins" panose="00000500000000000000" pitchFamily="2" charset="0"/>
                          <a:cs typeface="Poppins" panose="00000500000000000000" pitchFamily="2" charset="0"/>
                        </a:rPr>
                        <a:t>Tact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GB" sz="800" b="1" dirty="0">
                          <a:solidFill>
                            <a:schemeClr val="bg1"/>
                          </a:solidFill>
                          <a:latin typeface="Poppins" panose="00000500000000000000" pitchFamily="2" charset="0"/>
                          <a:cs typeface="Poppins" panose="00000500000000000000" pitchFamily="2" charset="0"/>
                        </a:rPr>
                        <a:t>Timefra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sz="800" b="1" dirty="0">
                          <a:solidFill>
                            <a:schemeClr val="bg1"/>
                          </a:solidFill>
                          <a:latin typeface="Poppins" panose="00000500000000000000" pitchFamily="2" charset="0"/>
                          <a:cs typeface="Poppins" panose="00000500000000000000" pitchFamily="2" charset="0"/>
                        </a:rPr>
                        <a:t>Organ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334289503"/>
                  </a:ext>
                </a:extLst>
              </a:tr>
            </a:tbl>
          </a:graphicData>
        </a:graphic>
      </p:graphicFrame>
      <p:grpSp>
        <p:nvGrpSpPr>
          <p:cNvPr id="14" name="Group 13">
            <a:extLst>
              <a:ext uri="{FF2B5EF4-FFF2-40B4-BE49-F238E27FC236}">
                <a16:creationId xmlns:a16="http://schemas.microsoft.com/office/drawing/2014/main" id="{A91651E6-A016-7A43-B88C-F503B5651CCC}"/>
              </a:ext>
            </a:extLst>
          </p:cNvPr>
          <p:cNvGrpSpPr/>
          <p:nvPr/>
        </p:nvGrpSpPr>
        <p:grpSpPr>
          <a:xfrm>
            <a:off x="7783091" y="2164099"/>
            <a:ext cx="3315263" cy="1218731"/>
            <a:chOff x="4891815" y="3010933"/>
            <a:chExt cx="3315263" cy="1218731"/>
          </a:xfrm>
        </p:grpSpPr>
        <p:pic>
          <p:nvPicPr>
            <p:cNvPr id="8" name="Picture 7">
              <a:extLst>
                <a:ext uri="{FF2B5EF4-FFF2-40B4-BE49-F238E27FC236}">
                  <a16:creationId xmlns:a16="http://schemas.microsoft.com/office/drawing/2014/main" id="{3B1A3E79-DB55-4481-613B-9778440A3816}"/>
                </a:ext>
              </a:extLst>
            </p:cNvPr>
            <p:cNvPicPr>
              <a:picLocks noChangeAspect="1"/>
            </p:cNvPicPr>
            <p:nvPr/>
          </p:nvPicPr>
          <p:blipFill rotWithShape="1">
            <a:blip r:embed="rId3"/>
            <a:srcRect b="11470"/>
            <a:stretch/>
          </p:blipFill>
          <p:spPr>
            <a:xfrm>
              <a:off x="4891815" y="3112632"/>
              <a:ext cx="3315263" cy="1117032"/>
            </a:xfrm>
            <a:prstGeom prst="rect">
              <a:avLst/>
            </a:prstGeom>
          </p:spPr>
        </p:pic>
        <p:sp>
          <p:nvSpPr>
            <p:cNvPr id="9" name="Rectangle 8">
              <a:extLst>
                <a:ext uri="{FF2B5EF4-FFF2-40B4-BE49-F238E27FC236}">
                  <a16:creationId xmlns:a16="http://schemas.microsoft.com/office/drawing/2014/main" id="{0DCEA23F-A204-2EE7-89E4-9D9F4783A618}"/>
                </a:ext>
              </a:extLst>
            </p:cNvPr>
            <p:cNvSpPr/>
            <p:nvPr/>
          </p:nvSpPr>
          <p:spPr>
            <a:xfrm>
              <a:off x="5544958" y="3274723"/>
              <a:ext cx="1932402" cy="2612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3" name="TextBox 12">
              <a:extLst>
                <a:ext uri="{FF2B5EF4-FFF2-40B4-BE49-F238E27FC236}">
                  <a16:creationId xmlns:a16="http://schemas.microsoft.com/office/drawing/2014/main" id="{EB8403E3-9F6E-6DAE-FF2A-FB39B822F373}"/>
                </a:ext>
              </a:extLst>
            </p:cNvPr>
            <p:cNvSpPr txBox="1"/>
            <p:nvPr/>
          </p:nvSpPr>
          <p:spPr>
            <a:xfrm>
              <a:off x="5331889" y="3010933"/>
              <a:ext cx="2424746" cy="646331"/>
            </a:xfrm>
            <a:prstGeom prst="rect">
              <a:avLst/>
            </a:prstGeom>
            <a:solidFill>
              <a:schemeClr val="bg1">
                <a:alpha val="1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lumMod val="65000"/>
                      <a:lumOff val="35000"/>
                    </a:prstClr>
                  </a:solidFill>
                  <a:effectLst/>
                  <a:uLnTx/>
                  <a:uFillTx/>
                  <a:latin typeface="Arial Black" panose="020B0A04020102020204" pitchFamily="34" charset="0"/>
                  <a:ea typeface="+mn-ea"/>
                  <a:cs typeface="+mn-cs"/>
                </a:rPr>
                <a:t>Trade Marketing Plans </a:t>
              </a:r>
            </a:p>
          </p:txBody>
        </p:sp>
      </p:grpSp>
    </p:spTree>
    <p:extLst>
      <p:ext uri="{BB962C8B-B14F-4D97-AF65-F5344CB8AC3E}">
        <p14:creationId xmlns:p14="http://schemas.microsoft.com/office/powerpoint/2010/main" val="18422917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D792864-CCAC-691D-E85B-6D74A5809D9E}"/>
              </a:ext>
            </a:extLst>
          </p:cNvPr>
          <p:cNvSpPr txBox="1"/>
          <p:nvPr/>
        </p:nvSpPr>
        <p:spPr>
          <a:xfrm>
            <a:off x="1430303" y="2990944"/>
            <a:ext cx="591882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Summary</a:t>
            </a:r>
          </a:p>
        </p:txBody>
      </p:sp>
      <p:graphicFrame>
        <p:nvGraphicFramePr>
          <p:cNvPr id="3" name="Table 5">
            <a:extLst>
              <a:ext uri="{FF2B5EF4-FFF2-40B4-BE49-F238E27FC236}">
                <a16:creationId xmlns:a16="http://schemas.microsoft.com/office/drawing/2014/main" id="{4FEB15DD-FF58-C40E-A275-6EC2913748FA}"/>
              </a:ext>
            </a:extLst>
          </p:cNvPr>
          <p:cNvGraphicFramePr>
            <a:graphicFrameLocks noGrp="1"/>
          </p:cNvGraphicFramePr>
          <p:nvPr>
            <p:extLst>
              <p:ext uri="{D42A27DB-BD31-4B8C-83A1-F6EECF244321}">
                <p14:modId xmlns:p14="http://schemas.microsoft.com/office/powerpoint/2010/main" val="3481322588"/>
              </p:ext>
            </p:extLst>
          </p:nvPr>
        </p:nvGraphicFramePr>
        <p:xfrm>
          <a:off x="7352161" y="92982"/>
          <a:ext cx="4773411" cy="6629400"/>
        </p:xfrm>
        <a:graphic>
          <a:graphicData uri="http://schemas.openxmlformats.org/drawingml/2006/table">
            <a:tbl>
              <a:tblPr firstRow="1" bandRow="1">
                <a:tableStyleId>{5C22544A-7EE6-4342-B048-85BDC9FD1C3A}</a:tableStyleId>
              </a:tblPr>
              <a:tblGrid>
                <a:gridCol w="1011451">
                  <a:extLst>
                    <a:ext uri="{9D8B030D-6E8A-4147-A177-3AD203B41FA5}">
                      <a16:colId xmlns:a16="http://schemas.microsoft.com/office/drawing/2014/main" val="250726202"/>
                    </a:ext>
                  </a:extLst>
                </a:gridCol>
                <a:gridCol w="2849646">
                  <a:extLst>
                    <a:ext uri="{9D8B030D-6E8A-4147-A177-3AD203B41FA5}">
                      <a16:colId xmlns:a16="http://schemas.microsoft.com/office/drawing/2014/main" val="2361609606"/>
                    </a:ext>
                  </a:extLst>
                </a:gridCol>
                <a:gridCol w="912314">
                  <a:extLst>
                    <a:ext uri="{9D8B030D-6E8A-4147-A177-3AD203B41FA5}">
                      <a16:colId xmlns:a16="http://schemas.microsoft.com/office/drawing/2014/main" val="4003720094"/>
                    </a:ext>
                  </a:extLst>
                </a:gridCol>
              </a:tblGrid>
              <a:tr h="215353">
                <a:tc gridSpan="2">
                  <a:txBody>
                    <a:bodyPr/>
                    <a:lstStyle/>
                    <a:p>
                      <a:r>
                        <a:rPr lang="en-GB" sz="900" dirty="0"/>
                        <a:t>Summary </a:t>
                      </a:r>
                    </a:p>
                  </a:txBody>
                  <a:tcPr>
                    <a:solidFill>
                      <a:srgbClr val="DB5000"/>
                    </a:solidFill>
                  </a:tcPr>
                </a:tc>
                <a:tc hMerge="1">
                  <a:txBody>
                    <a:bodyPr/>
                    <a:lstStyle/>
                    <a:p>
                      <a:endParaRPr lang="en-GB" dirty="0"/>
                    </a:p>
                  </a:txBody>
                  <a:tcPr>
                    <a:solidFill>
                      <a:srgbClr val="DB5000"/>
                    </a:solidFill>
                  </a:tcPr>
                </a:tc>
                <a:tc>
                  <a:txBody>
                    <a:bodyPr/>
                    <a:lstStyle/>
                    <a:p>
                      <a:r>
                        <a:rPr lang="en-GB" sz="900" dirty="0"/>
                        <a:t>Page No</a:t>
                      </a:r>
                    </a:p>
                  </a:txBody>
                  <a:tcPr>
                    <a:solidFill>
                      <a:srgbClr val="DB5000"/>
                    </a:solidFill>
                  </a:tcPr>
                </a:tc>
                <a:extLst>
                  <a:ext uri="{0D108BD9-81ED-4DB2-BD59-A6C34878D82A}">
                    <a16:rowId xmlns:a16="http://schemas.microsoft.com/office/drawing/2014/main" val="1379040451"/>
                  </a:ext>
                </a:extLst>
              </a:tr>
              <a:tr h="200061">
                <a:tc>
                  <a:txBody>
                    <a:bodyPr/>
                    <a:lstStyle/>
                    <a:p>
                      <a:r>
                        <a:rPr lang="en-GB" sz="900" b="1" dirty="0">
                          <a:solidFill>
                            <a:schemeClr val="bg1"/>
                          </a:solidFill>
                          <a:latin typeface="Lato Long"/>
                        </a:rPr>
                        <a:t>1.0</a:t>
                      </a:r>
                    </a:p>
                  </a:txBody>
                  <a:tcPr>
                    <a:solidFill>
                      <a:srgbClr val="3984A3"/>
                    </a:solidFill>
                  </a:tcPr>
                </a:tc>
                <a:tc>
                  <a:txBody>
                    <a:bodyPr/>
                    <a:lstStyle/>
                    <a:p>
                      <a:r>
                        <a:rPr lang="en-GB" sz="900" b="1" dirty="0">
                          <a:solidFill>
                            <a:schemeClr val="bg1"/>
                          </a:solidFill>
                          <a:latin typeface="Lato Long"/>
                        </a:rPr>
                        <a:t>Summary </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88537191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Corporate Objectives and Mission Statement</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142382326"/>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Market specific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30397707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ategory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43845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ustomer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9847186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hannel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9018709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Key Opportunities identified (B2B &amp; B2C)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27244981"/>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Priority Categories and Brand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56631578"/>
                  </a:ext>
                </a:extLst>
              </a:tr>
              <a:tr h="200061">
                <a:tc>
                  <a:txBody>
                    <a:bodyPr/>
                    <a:lstStyle/>
                    <a:p>
                      <a:r>
                        <a:rPr lang="en-GB" sz="900" dirty="0">
                          <a:solidFill>
                            <a:schemeClr val="bg1"/>
                          </a:solidFill>
                          <a:latin typeface="Lato Long"/>
                        </a:rPr>
                        <a:t>2.0</a:t>
                      </a:r>
                    </a:p>
                  </a:txBody>
                  <a:tcPr>
                    <a:solidFill>
                      <a:srgbClr val="3984A3"/>
                    </a:solidFill>
                  </a:tcPr>
                </a:tc>
                <a:tc>
                  <a:txBody>
                    <a:bodyPr/>
                    <a:lstStyle/>
                    <a:p>
                      <a:r>
                        <a:rPr lang="en-GB" sz="900" b="1" dirty="0">
                          <a:solidFill>
                            <a:schemeClr val="bg1"/>
                          </a:solidFill>
                          <a:latin typeface="Lato Long"/>
                        </a:rPr>
                        <a:t>Analysi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556882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Market sizing / Channel Sizing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40030120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Key Channels and Customer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6251086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petitive analysi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9047431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Opportunities and threat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191416563"/>
                  </a:ext>
                </a:extLst>
              </a:tr>
              <a:tr h="200061">
                <a:tc>
                  <a:txBody>
                    <a:bodyPr/>
                    <a:lstStyle/>
                    <a:p>
                      <a:r>
                        <a:rPr lang="en-GB" sz="900" dirty="0">
                          <a:solidFill>
                            <a:schemeClr val="bg1"/>
                          </a:solidFill>
                          <a:latin typeface="Lato Long"/>
                        </a:rPr>
                        <a:t>3.0</a:t>
                      </a:r>
                    </a:p>
                  </a:txBody>
                  <a:tcPr>
                    <a:solidFill>
                      <a:srgbClr val="3984A3"/>
                    </a:solidFill>
                  </a:tcPr>
                </a:tc>
                <a:tc>
                  <a:txBody>
                    <a:bodyPr/>
                    <a:lstStyle/>
                    <a:p>
                      <a:r>
                        <a:rPr lang="en-GB" sz="900" b="1" dirty="0">
                          <a:solidFill>
                            <a:schemeClr val="bg1"/>
                          </a:solidFill>
                          <a:latin typeface="Lato Long"/>
                        </a:rPr>
                        <a:t>Resource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5146695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Human resource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3108314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POS Resource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45114604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Investments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32402442"/>
                  </a:ext>
                </a:extLst>
              </a:tr>
              <a:tr h="200061">
                <a:tc>
                  <a:txBody>
                    <a:bodyPr/>
                    <a:lstStyle/>
                    <a:p>
                      <a:r>
                        <a:rPr lang="en-GB" sz="900" dirty="0">
                          <a:solidFill>
                            <a:schemeClr val="bg1"/>
                          </a:solidFill>
                          <a:latin typeface="Lato Long"/>
                        </a:rPr>
                        <a:t>4.0</a:t>
                      </a:r>
                    </a:p>
                  </a:txBody>
                  <a:tcPr>
                    <a:solidFill>
                      <a:srgbClr val="3984A3"/>
                    </a:solidFill>
                  </a:tcPr>
                </a:tc>
                <a:tc>
                  <a:txBody>
                    <a:bodyPr/>
                    <a:lstStyle/>
                    <a:p>
                      <a:r>
                        <a:rPr lang="en-GB" sz="900" b="1" dirty="0">
                          <a:solidFill>
                            <a:schemeClr val="bg1"/>
                          </a:solidFill>
                          <a:latin typeface="Lato Long"/>
                        </a:rPr>
                        <a:t>Tactic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01312479"/>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75000"/>
                              <a:lumOff val="25000"/>
                            </a:schemeClr>
                          </a:solidFill>
                          <a:latin typeface="Lato Long"/>
                        </a:rPr>
                        <a:t>Brands channels and tactic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6304355"/>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Branding Plans</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5008497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munication Plan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90853343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POS Plan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85700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High level tactical calendar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23390391"/>
                  </a:ext>
                </a:extLst>
              </a:tr>
              <a:tr h="200061">
                <a:tc>
                  <a:txBody>
                    <a:bodyPr/>
                    <a:lstStyle/>
                    <a:p>
                      <a:r>
                        <a:rPr lang="en-GB" sz="900" b="1" dirty="0">
                          <a:solidFill>
                            <a:schemeClr val="bg1"/>
                          </a:solidFill>
                          <a:latin typeface="Lato Long"/>
                        </a:rPr>
                        <a:t>5.0</a:t>
                      </a:r>
                    </a:p>
                  </a:txBody>
                  <a:tcPr>
                    <a:solidFill>
                      <a:schemeClr val="accent1"/>
                    </a:solidFill>
                  </a:tcPr>
                </a:tc>
                <a:tc>
                  <a:txBody>
                    <a:bodyPr/>
                    <a:lstStyle/>
                    <a:p>
                      <a:r>
                        <a:rPr lang="en-GB" sz="900" b="1" dirty="0">
                          <a:solidFill>
                            <a:schemeClr val="bg1"/>
                          </a:solidFill>
                          <a:latin typeface="Lato Long"/>
                        </a:rPr>
                        <a:t>P&amp;L</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703129503"/>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P&amp;L</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5752941"/>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Marketing ROI and Ratio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7789640"/>
                  </a:ext>
                </a:extLst>
              </a:tr>
              <a:tr h="200061">
                <a:tc>
                  <a:txBody>
                    <a:bodyPr/>
                    <a:lstStyle/>
                    <a:p>
                      <a:r>
                        <a:rPr lang="en-GB" sz="900" b="1" dirty="0">
                          <a:solidFill>
                            <a:schemeClr val="bg1"/>
                          </a:solidFill>
                          <a:latin typeface="Lato Long"/>
                        </a:rPr>
                        <a:t>6.0</a:t>
                      </a:r>
                    </a:p>
                  </a:txBody>
                  <a:tcPr>
                    <a:solidFill>
                      <a:schemeClr val="accent1"/>
                    </a:solidFill>
                  </a:tcPr>
                </a:tc>
                <a:tc>
                  <a:txBody>
                    <a:bodyPr/>
                    <a:lstStyle/>
                    <a:p>
                      <a:r>
                        <a:rPr lang="en-GB" sz="900" b="1" dirty="0">
                          <a:solidFill>
                            <a:schemeClr val="bg1"/>
                          </a:solidFill>
                          <a:latin typeface="Lato Long"/>
                        </a:rPr>
                        <a:t>Conclusions </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72979437"/>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Recommendations and Review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86498152"/>
                  </a:ext>
                </a:extLst>
              </a:tr>
            </a:tbl>
          </a:graphicData>
        </a:graphic>
      </p:graphicFrame>
    </p:spTree>
    <p:extLst>
      <p:ext uri="{BB962C8B-B14F-4D97-AF65-F5344CB8AC3E}">
        <p14:creationId xmlns:p14="http://schemas.microsoft.com/office/powerpoint/2010/main" val="1754816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43AF00-BD5A-D419-DFE6-073B2A669DD5}"/>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rade Marketing Objectives</a:t>
            </a:r>
          </a:p>
        </p:txBody>
      </p:sp>
      <p:pic>
        <p:nvPicPr>
          <p:cNvPr id="3" name="Picture 2" descr="Logo&#10;&#10;Description automatically generated">
            <a:extLst>
              <a:ext uri="{FF2B5EF4-FFF2-40B4-BE49-F238E27FC236}">
                <a16:creationId xmlns:a16="http://schemas.microsoft.com/office/drawing/2014/main" id="{70DE14FA-6BD3-1326-4E43-5D8A5BE1A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B4F967E1-4774-9DC4-7426-D528AF360E2D}"/>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5" name="Table 5">
            <a:extLst>
              <a:ext uri="{FF2B5EF4-FFF2-40B4-BE49-F238E27FC236}">
                <a16:creationId xmlns:a16="http://schemas.microsoft.com/office/drawing/2014/main" id="{44F2C7DE-16E2-BFF7-1B2F-85794C3A6AEF}"/>
              </a:ext>
            </a:extLst>
          </p:cNvPr>
          <p:cNvGraphicFramePr>
            <a:graphicFrameLocks noGrp="1"/>
          </p:cNvGraphicFramePr>
          <p:nvPr>
            <p:extLst>
              <p:ext uri="{D42A27DB-BD31-4B8C-83A1-F6EECF244321}">
                <p14:modId xmlns:p14="http://schemas.microsoft.com/office/powerpoint/2010/main" val="1690559825"/>
              </p:ext>
            </p:extLst>
          </p:nvPr>
        </p:nvGraphicFramePr>
        <p:xfrm>
          <a:off x="824812" y="1770243"/>
          <a:ext cx="10251591" cy="3165840"/>
        </p:xfrm>
        <a:graphic>
          <a:graphicData uri="http://schemas.openxmlformats.org/drawingml/2006/table">
            <a:tbl>
              <a:tblPr firstRow="1" bandRow="1">
                <a:tableStyleId>{5C22544A-7EE6-4342-B048-85BDC9FD1C3A}</a:tableStyleId>
              </a:tblPr>
              <a:tblGrid>
                <a:gridCol w="2931886">
                  <a:extLst>
                    <a:ext uri="{9D8B030D-6E8A-4147-A177-3AD203B41FA5}">
                      <a16:colId xmlns:a16="http://schemas.microsoft.com/office/drawing/2014/main" val="1207560090"/>
                    </a:ext>
                  </a:extLst>
                </a:gridCol>
                <a:gridCol w="2193909">
                  <a:extLst>
                    <a:ext uri="{9D8B030D-6E8A-4147-A177-3AD203B41FA5}">
                      <a16:colId xmlns:a16="http://schemas.microsoft.com/office/drawing/2014/main" val="4118078510"/>
                    </a:ext>
                  </a:extLst>
                </a:gridCol>
                <a:gridCol w="2562898">
                  <a:extLst>
                    <a:ext uri="{9D8B030D-6E8A-4147-A177-3AD203B41FA5}">
                      <a16:colId xmlns:a16="http://schemas.microsoft.com/office/drawing/2014/main" val="3107985587"/>
                    </a:ext>
                  </a:extLst>
                </a:gridCol>
                <a:gridCol w="2562898">
                  <a:extLst>
                    <a:ext uri="{9D8B030D-6E8A-4147-A177-3AD203B41FA5}">
                      <a16:colId xmlns:a16="http://schemas.microsoft.com/office/drawing/2014/main" val="364046904"/>
                    </a:ext>
                  </a:extLst>
                </a:gridCol>
              </a:tblGrid>
              <a:tr h="342770">
                <a:tc>
                  <a:txBody>
                    <a:bodyPr/>
                    <a:lstStyle/>
                    <a:p>
                      <a:r>
                        <a:rPr lang="en-GB" dirty="0"/>
                        <a:t>Business</a:t>
                      </a:r>
                    </a:p>
                  </a:txBody>
                  <a:tcPr/>
                </a:tc>
                <a:tc>
                  <a:txBody>
                    <a:bodyPr/>
                    <a:lstStyle/>
                    <a:p>
                      <a:r>
                        <a:rPr lang="en-GB" dirty="0"/>
                        <a:t>XX</a:t>
                      </a:r>
                    </a:p>
                  </a:txBody>
                  <a:tcPr/>
                </a:tc>
                <a:tc>
                  <a:txBody>
                    <a:bodyPr/>
                    <a:lstStyle/>
                    <a:p>
                      <a:r>
                        <a:rPr lang="en-GB" dirty="0"/>
                        <a:t>Market</a:t>
                      </a:r>
                    </a:p>
                  </a:txBody>
                  <a:tcPr/>
                </a:tc>
                <a:tc>
                  <a:txBody>
                    <a:bodyPr/>
                    <a:lstStyle/>
                    <a:p>
                      <a:r>
                        <a:rPr lang="en-GB" dirty="0"/>
                        <a:t>AA</a:t>
                      </a:r>
                    </a:p>
                  </a:txBody>
                  <a:tcPr/>
                </a:tc>
                <a:extLst>
                  <a:ext uri="{0D108BD9-81ED-4DB2-BD59-A6C34878D82A}">
                    <a16:rowId xmlns:a16="http://schemas.microsoft.com/office/drawing/2014/main" val="385497981"/>
                  </a:ext>
                </a:extLst>
              </a:tr>
              <a:tr h="360000">
                <a:tc>
                  <a:txBody>
                    <a:bodyPr/>
                    <a:lstStyle/>
                    <a:p>
                      <a:r>
                        <a:rPr lang="en-GB" sz="1200" dirty="0"/>
                        <a:t>Brand </a:t>
                      </a:r>
                    </a:p>
                  </a:txBody>
                  <a:tcPr>
                    <a:solidFill>
                      <a:schemeClr val="bg1">
                        <a:lumMod val="95000"/>
                      </a:schemeClr>
                    </a:solidFill>
                  </a:tcPr>
                </a:tc>
                <a:tc>
                  <a:txBody>
                    <a:bodyPr/>
                    <a:lstStyle/>
                    <a:p>
                      <a:r>
                        <a:rPr lang="en-GB" sz="1200" dirty="0"/>
                        <a:t>YY</a:t>
                      </a:r>
                    </a:p>
                  </a:txBody>
                  <a:tcPr>
                    <a:solidFill>
                      <a:schemeClr val="bg1">
                        <a:lumMod val="95000"/>
                      </a:schemeClr>
                    </a:solidFill>
                  </a:tcPr>
                </a:tc>
                <a:tc>
                  <a:txBody>
                    <a:bodyPr/>
                    <a:lstStyle/>
                    <a:p>
                      <a:r>
                        <a:rPr lang="en-GB" sz="1200" dirty="0"/>
                        <a:t>Area</a:t>
                      </a:r>
                    </a:p>
                  </a:txBody>
                  <a:tcPr>
                    <a:solidFill>
                      <a:schemeClr val="bg1">
                        <a:lumMod val="95000"/>
                      </a:schemeClr>
                    </a:solidFill>
                  </a:tcPr>
                </a:tc>
                <a:tc>
                  <a:txBody>
                    <a:bodyPr/>
                    <a:lstStyle/>
                    <a:p>
                      <a:r>
                        <a:rPr lang="en-GB" sz="1200" dirty="0"/>
                        <a:t>ZZ</a:t>
                      </a:r>
                    </a:p>
                  </a:txBody>
                  <a:tcPr>
                    <a:solidFill>
                      <a:schemeClr val="bg1">
                        <a:lumMod val="95000"/>
                      </a:schemeClr>
                    </a:solidFill>
                  </a:tcPr>
                </a:tc>
                <a:extLst>
                  <a:ext uri="{0D108BD9-81ED-4DB2-BD59-A6C34878D82A}">
                    <a16:rowId xmlns:a16="http://schemas.microsoft.com/office/drawing/2014/main" val="1612073081"/>
                  </a:ext>
                </a:extLst>
              </a:tr>
              <a:tr h="360000">
                <a:tc>
                  <a:txBody>
                    <a:bodyPr/>
                    <a:lstStyle/>
                    <a:p>
                      <a:r>
                        <a:rPr lang="en-GB" sz="1200" dirty="0"/>
                        <a:t>Objective </a:t>
                      </a:r>
                    </a:p>
                  </a:txBody>
                  <a:tcPr>
                    <a:solidFill>
                      <a:schemeClr val="bg1">
                        <a:lumMod val="95000"/>
                      </a:schemeClr>
                    </a:solidFill>
                  </a:tcPr>
                </a:tc>
                <a:tc gridSpan="3">
                  <a:txBody>
                    <a:bodyPr/>
                    <a:lstStyle/>
                    <a:p>
                      <a:r>
                        <a:rPr lang="en-GB" sz="1200" dirty="0"/>
                        <a:t>To Increase the brand market share of brand XX from 3.2 % to 5 % in Walmart , Mississauga , by conducting a consumer promotion of Buy 2 Get 1 free in the 300ML size along with POS placements and in store promotion during the period of Jan 1 to Jan 30, 20XX  </a:t>
                      </a:r>
                    </a:p>
                  </a:txBody>
                  <a:tcPr>
                    <a:solidFill>
                      <a:schemeClr val="bg1">
                        <a:lumMod val="95000"/>
                      </a:schemeClr>
                    </a:solidFill>
                  </a:tcPr>
                </a:tc>
                <a:tc hMerge="1">
                  <a:txBody>
                    <a:bodyPr/>
                    <a:lstStyle/>
                    <a:p>
                      <a:endParaRPr lang="en-GB" dirty="0"/>
                    </a:p>
                  </a:txBody>
                  <a:tcPr>
                    <a:solidFill>
                      <a:schemeClr val="bg1">
                        <a:lumMod val="85000"/>
                      </a:schemeClr>
                    </a:solidFill>
                  </a:tcPr>
                </a:tc>
                <a:tc hMerge="1">
                  <a:txBody>
                    <a:bodyPr/>
                    <a:lstStyle/>
                    <a:p>
                      <a:endParaRPr lang="en-GB" dirty="0"/>
                    </a:p>
                  </a:txBody>
                  <a:tcPr>
                    <a:solidFill>
                      <a:schemeClr val="bg1">
                        <a:lumMod val="85000"/>
                      </a:schemeClr>
                    </a:solidFill>
                  </a:tcPr>
                </a:tc>
                <a:extLst>
                  <a:ext uri="{0D108BD9-81ED-4DB2-BD59-A6C34878D82A}">
                    <a16:rowId xmlns:a16="http://schemas.microsoft.com/office/drawing/2014/main" val="1871633017"/>
                  </a:ext>
                </a:extLst>
              </a:tr>
              <a:tr h="360000">
                <a:tc>
                  <a:txBody>
                    <a:bodyPr/>
                    <a:lstStyle/>
                    <a:p>
                      <a:r>
                        <a:rPr lang="en-GB" sz="1200" dirty="0"/>
                        <a:t>Objective </a:t>
                      </a:r>
                    </a:p>
                  </a:txBody>
                  <a:tcPr>
                    <a:solidFill>
                      <a:schemeClr val="bg1">
                        <a:lumMod val="95000"/>
                      </a:schemeClr>
                    </a:solidFill>
                  </a:tcPr>
                </a:tc>
                <a:tc>
                  <a:txBody>
                    <a:bodyPr/>
                    <a:lstStyle/>
                    <a:p>
                      <a:r>
                        <a:rPr lang="en-GB" sz="1200" dirty="0"/>
                        <a:t>3.2 % </a:t>
                      </a:r>
                    </a:p>
                  </a:txBody>
                  <a:tcPr>
                    <a:solidFill>
                      <a:schemeClr val="bg1">
                        <a:lumMod val="95000"/>
                      </a:schemeClr>
                    </a:solidFill>
                  </a:tcPr>
                </a:tc>
                <a:tc>
                  <a:txBody>
                    <a:bodyPr/>
                    <a:lstStyle/>
                    <a:p>
                      <a:r>
                        <a:rPr lang="en-GB" sz="1200" dirty="0"/>
                        <a:t>5%</a:t>
                      </a:r>
                    </a:p>
                  </a:txBody>
                  <a:tcPr>
                    <a:solidFill>
                      <a:schemeClr val="bg1">
                        <a:lumMod val="95000"/>
                      </a:schemeClr>
                    </a:solidFill>
                  </a:tcPr>
                </a:tc>
                <a:tc>
                  <a:txBody>
                    <a:bodyPr/>
                    <a:lstStyle/>
                    <a:p>
                      <a:r>
                        <a:rPr lang="en-GB" sz="1200" dirty="0"/>
                        <a:t>Gain of 1.8%</a:t>
                      </a:r>
                    </a:p>
                  </a:txBody>
                  <a:tcPr>
                    <a:solidFill>
                      <a:schemeClr val="bg1">
                        <a:lumMod val="95000"/>
                      </a:schemeClr>
                    </a:solidFill>
                  </a:tcPr>
                </a:tc>
                <a:extLst>
                  <a:ext uri="{0D108BD9-81ED-4DB2-BD59-A6C34878D82A}">
                    <a16:rowId xmlns:a16="http://schemas.microsoft.com/office/drawing/2014/main" val="4246901403"/>
                  </a:ext>
                </a:extLst>
              </a:tr>
              <a:tr h="360000">
                <a:tc>
                  <a:txBody>
                    <a:bodyPr/>
                    <a:lstStyle/>
                    <a:p>
                      <a:r>
                        <a:rPr lang="en-GB" sz="1200" dirty="0"/>
                        <a:t>Review Date 15 Feb</a:t>
                      </a:r>
                    </a:p>
                  </a:txBody>
                  <a:tcPr>
                    <a:solidFill>
                      <a:schemeClr val="bg1">
                        <a:lumMod val="95000"/>
                      </a:schemeClr>
                    </a:solidFill>
                  </a:tcPr>
                </a:tc>
                <a:tc>
                  <a:txBody>
                    <a:bodyPr/>
                    <a:lstStyle/>
                    <a:p>
                      <a:r>
                        <a:rPr lang="en-GB" sz="1200" dirty="0"/>
                        <a:t>Name</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086604594"/>
                  </a:ext>
                </a:extLst>
              </a:tr>
              <a:tr h="360000">
                <a:tc>
                  <a:txBody>
                    <a:bodyPr/>
                    <a:lstStyle/>
                    <a:p>
                      <a:r>
                        <a:rPr lang="en-GB" sz="1200" dirty="0"/>
                        <a:t>Initiator 1</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942931181"/>
                  </a:ext>
                </a:extLst>
              </a:tr>
              <a:tr h="360000">
                <a:tc>
                  <a:txBody>
                    <a:bodyPr/>
                    <a:lstStyle/>
                    <a:p>
                      <a:r>
                        <a:rPr lang="en-GB" sz="1200" dirty="0"/>
                        <a:t>Reviewer 2</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90979866"/>
                  </a:ext>
                </a:extLst>
              </a:tr>
              <a:tr h="360000">
                <a:tc>
                  <a:txBody>
                    <a:bodyPr/>
                    <a:lstStyle/>
                    <a:p>
                      <a:r>
                        <a:rPr lang="en-GB" sz="1200" dirty="0"/>
                        <a:t>Reviewer 3</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78758876"/>
                  </a:ext>
                </a:extLst>
              </a:tr>
            </a:tbl>
          </a:graphicData>
        </a:graphic>
      </p:graphicFrame>
      <p:sp>
        <p:nvSpPr>
          <p:cNvPr id="6" name="TextBox 5">
            <a:extLst>
              <a:ext uri="{FF2B5EF4-FFF2-40B4-BE49-F238E27FC236}">
                <a16:creationId xmlns:a16="http://schemas.microsoft.com/office/drawing/2014/main" id="{DA05382B-42A6-C3B1-D063-9A2B212AAF84}"/>
              </a:ext>
            </a:extLst>
          </p:cNvPr>
          <p:cNvSpPr txBox="1"/>
          <p:nvPr/>
        </p:nvSpPr>
        <p:spPr>
          <a:xfrm>
            <a:off x="9585434" y="4229663"/>
            <a:ext cx="1905376" cy="1384995"/>
          </a:xfrm>
          <a:prstGeom prst="rect">
            <a:avLst/>
          </a:prstGeom>
          <a:solidFill>
            <a:schemeClr val="accent3">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Lato Light"/>
                <a:ea typeface="+mn-ea"/>
                <a:cs typeface="+mn-cs"/>
              </a:rPr>
              <a:t>Objectives should be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1" i="1" u="none" strike="noStrike" kern="1200" cap="none" spc="0" normalizeH="0" baseline="0" noProof="0" dirty="0">
                <a:ln>
                  <a:noFill/>
                </a:ln>
                <a:solidFill>
                  <a:prstClr val="black"/>
                </a:solidFill>
                <a:effectLst/>
                <a:uLnTx/>
                <a:uFillTx/>
                <a:latin typeface="Lato Light"/>
                <a:ea typeface="+mn-ea"/>
                <a:cs typeface="+mn-cs"/>
              </a:rPr>
              <a:t>Specific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1" i="1" u="none" strike="noStrike" kern="1200" cap="none" spc="0" normalizeH="0" baseline="0" noProof="0" dirty="0">
                <a:ln>
                  <a:noFill/>
                </a:ln>
                <a:solidFill>
                  <a:prstClr val="black"/>
                </a:solidFill>
                <a:effectLst/>
                <a:uLnTx/>
                <a:uFillTx/>
                <a:latin typeface="Lato Light"/>
                <a:ea typeface="+mn-ea"/>
                <a:cs typeface="+mn-cs"/>
              </a:rPr>
              <a:t>Measurable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1" i="1" u="none" strike="noStrike" kern="1200" cap="none" spc="0" normalizeH="0" baseline="0" noProof="0" dirty="0">
                <a:ln>
                  <a:noFill/>
                </a:ln>
                <a:solidFill>
                  <a:prstClr val="black"/>
                </a:solidFill>
                <a:effectLst/>
                <a:uLnTx/>
                <a:uFillTx/>
                <a:latin typeface="Lato Light"/>
                <a:ea typeface="+mn-ea"/>
                <a:cs typeface="+mn-cs"/>
              </a:rPr>
              <a:t>Actionabl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1" i="1" u="none" strike="noStrike" kern="1200" cap="none" spc="0" normalizeH="0" baseline="0" noProof="0" dirty="0">
                <a:ln>
                  <a:noFill/>
                </a:ln>
                <a:solidFill>
                  <a:prstClr val="black"/>
                </a:solidFill>
                <a:effectLst/>
                <a:uLnTx/>
                <a:uFillTx/>
                <a:latin typeface="Lato Light"/>
                <a:ea typeface="+mn-ea"/>
                <a:cs typeface="+mn-cs"/>
              </a:rPr>
              <a:t>Relevant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1400" b="1" i="1" u="none" strike="noStrike" kern="1200" cap="none" spc="0" normalizeH="0" baseline="0" noProof="0" dirty="0">
                <a:ln>
                  <a:noFill/>
                </a:ln>
                <a:solidFill>
                  <a:prstClr val="black"/>
                </a:solidFill>
                <a:effectLst/>
                <a:uLnTx/>
                <a:uFillTx/>
                <a:latin typeface="Lato Light"/>
                <a:ea typeface="+mn-ea"/>
                <a:cs typeface="+mn-cs"/>
              </a:rPr>
              <a:t>Timebound </a:t>
            </a:r>
          </a:p>
        </p:txBody>
      </p:sp>
    </p:spTree>
    <p:extLst>
      <p:ext uri="{BB962C8B-B14F-4D97-AF65-F5344CB8AC3E}">
        <p14:creationId xmlns:p14="http://schemas.microsoft.com/office/powerpoint/2010/main" val="25392469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43AF00-BD5A-D419-DFE6-073B2A669DD5}"/>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pecifics</a:t>
            </a:r>
          </a:p>
        </p:txBody>
      </p:sp>
      <p:pic>
        <p:nvPicPr>
          <p:cNvPr id="3" name="Picture 2" descr="Logo&#10;&#10;Description automatically generated">
            <a:extLst>
              <a:ext uri="{FF2B5EF4-FFF2-40B4-BE49-F238E27FC236}">
                <a16:creationId xmlns:a16="http://schemas.microsoft.com/office/drawing/2014/main" id="{70DE14FA-6BD3-1326-4E43-5D8A5BE1A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B4F967E1-4774-9DC4-7426-D528AF360E2D}"/>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5" name="Table 5">
            <a:extLst>
              <a:ext uri="{FF2B5EF4-FFF2-40B4-BE49-F238E27FC236}">
                <a16:creationId xmlns:a16="http://schemas.microsoft.com/office/drawing/2014/main" id="{44F2C7DE-16E2-BFF7-1B2F-85794C3A6AEF}"/>
              </a:ext>
            </a:extLst>
          </p:cNvPr>
          <p:cNvGraphicFramePr>
            <a:graphicFrameLocks noGrp="1"/>
          </p:cNvGraphicFramePr>
          <p:nvPr/>
        </p:nvGraphicFramePr>
        <p:xfrm>
          <a:off x="689679" y="1702677"/>
          <a:ext cx="10251591" cy="2776768"/>
        </p:xfrm>
        <a:graphic>
          <a:graphicData uri="http://schemas.openxmlformats.org/drawingml/2006/table">
            <a:tbl>
              <a:tblPr firstRow="1" bandRow="1">
                <a:tableStyleId>{5C22544A-7EE6-4342-B048-85BDC9FD1C3A}</a:tableStyleId>
              </a:tblPr>
              <a:tblGrid>
                <a:gridCol w="2931886">
                  <a:extLst>
                    <a:ext uri="{9D8B030D-6E8A-4147-A177-3AD203B41FA5}">
                      <a16:colId xmlns:a16="http://schemas.microsoft.com/office/drawing/2014/main" val="1207560090"/>
                    </a:ext>
                  </a:extLst>
                </a:gridCol>
                <a:gridCol w="2391854">
                  <a:extLst>
                    <a:ext uri="{9D8B030D-6E8A-4147-A177-3AD203B41FA5}">
                      <a16:colId xmlns:a16="http://schemas.microsoft.com/office/drawing/2014/main" val="4118078510"/>
                    </a:ext>
                  </a:extLst>
                </a:gridCol>
                <a:gridCol w="2364953">
                  <a:extLst>
                    <a:ext uri="{9D8B030D-6E8A-4147-A177-3AD203B41FA5}">
                      <a16:colId xmlns:a16="http://schemas.microsoft.com/office/drawing/2014/main" val="2559892957"/>
                    </a:ext>
                  </a:extLst>
                </a:gridCol>
                <a:gridCol w="2562898">
                  <a:extLst>
                    <a:ext uri="{9D8B030D-6E8A-4147-A177-3AD203B41FA5}">
                      <a16:colId xmlns:a16="http://schemas.microsoft.com/office/drawing/2014/main" val="364046904"/>
                    </a:ext>
                  </a:extLst>
                </a:gridCol>
              </a:tblGrid>
              <a:tr h="360993">
                <a:tc>
                  <a:txBody>
                    <a:bodyPr/>
                    <a:lstStyle/>
                    <a:p>
                      <a:r>
                        <a:rPr lang="en-GB" dirty="0"/>
                        <a:t>Overview </a:t>
                      </a:r>
                    </a:p>
                  </a:txBody>
                  <a:tcPr/>
                </a:tc>
                <a:tc>
                  <a:txBody>
                    <a:bodyPr/>
                    <a:lstStyle/>
                    <a:p>
                      <a:r>
                        <a:rPr lang="en-GB" dirty="0"/>
                        <a:t>Data</a:t>
                      </a:r>
                    </a:p>
                  </a:txBody>
                  <a:tcPr/>
                </a:tc>
                <a:tc>
                  <a:txBody>
                    <a:bodyPr/>
                    <a:lstStyle/>
                    <a:p>
                      <a:r>
                        <a:rPr lang="en-GB" dirty="0"/>
                        <a:t>Commentary</a:t>
                      </a:r>
                    </a:p>
                  </a:txBody>
                  <a:tcPr/>
                </a:tc>
                <a:tc>
                  <a:txBody>
                    <a:bodyPr/>
                    <a:lstStyle/>
                    <a:p>
                      <a:r>
                        <a:rPr lang="en-GB" dirty="0"/>
                        <a:t>Basic Analysis</a:t>
                      </a:r>
                    </a:p>
                  </a:txBody>
                  <a:tcPr/>
                </a:tc>
                <a:extLst>
                  <a:ext uri="{0D108BD9-81ED-4DB2-BD59-A6C34878D82A}">
                    <a16:rowId xmlns:a16="http://schemas.microsoft.com/office/drawing/2014/main" val="385497981"/>
                  </a:ext>
                </a:extLst>
              </a:tr>
              <a:tr h="301376">
                <a:tc>
                  <a:txBody>
                    <a:bodyPr/>
                    <a:lstStyle/>
                    <a:p>
                      <a:r>
                        <a:rPr lang="en-GB" sz="1200" dirty="0"/>
                        <a:t>Business</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28912356"/>
                  </a:ext>
                </a:extLst>
              </a:tr>
              <a:tr h="301376">
                <a:tc>
                  <a:txBody>
                    <a:bodyPr/>
                    <a:lstStyle/>
                    <a:p>
                      <a:r>
                        <a:rPr lang="en-GB" sz="1200" dirty="0"/>
                        <a:t>Brand  </a:t>
                      </a:r>
                    </a:p>
                  </a:txBody>
                  <a:tcPr>
                    <a:solidFill>
                      <a:schemeClr val="bg1">
                        <a:lumMod val="95000"/>
                      </a:schemeClr>
                    </a:solidFill>
                  </a:tcPr>
                </a:tc>
                <a:tc>
                  <a:txBody>
                    <a:bodyPr/>
                    <a:lstStyle/>
                    <a:p>
                      <a:r>
                        <a:rPr lang="en-GB" sz="1200" dirty="0"/>
                        <a:t>Market Size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Competitive analysis</a:t>
                      </a:r>
                    </a:p>
                  </a:txBody>
                  <a:tcPr>
                    <a:solidFill>
                      <a:schemeClr val="bg1">
                        <a:lumMod val="95000"/>
                      </a:schemeClr>
                    </a:solidFill>
                  </a:tcPr>
                </a:tc>
                <a:tc>
                  <a:txBody>
                    <a:bodyPr/>
                    <a:lstStyle/>
                    <a:p>
                      <a:r>
                        <a:rPr lang="en-GB" sz="1200" dirty="0"/>
                        <a:t>Strengths</a:t>
                      </a:r>
                    </a:p>
                  </a:txBody>
                  <a:tcPr>
                    <a:solidFill>
                      <a:schemeClr val="bg1">
                        <a:lumMod val="95000"/>
                      </a:schemeClr>
                    </a:solidFill>
                  </a:tcPr>
                </a:tc>
                <a:extLst>
                  <a:ext uri="{0D108BD9-81ED-4DB2-BD59-A6C34878D82A}">
                    <a16:rowId xmlns:a16="http://schemas.microsoft.com/office/drawing/2014/main" val="1612073081"/>
                  </a:ext>
                </a:extLst>
              </a:tr>
              <a:tr h="3013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Category</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Market value </a:t>
                      </a:r>
                    </a:p>
                  </a:txBody>
                  <a:tcPr>
                    <a:solidFill>
                      <a:schemeClr val="bg1">
                        <a:lumMod val="95000"/>
                      </a:schemeClr>
                    </a:solidFill>
                  </a:tcPr>
                </a:tc>
                <a:tc>
                  <a:txBody>
                    <a:bodyPr/>
                    <a:lstStyle/>
                    <a:p>
                      <a:r>
                        <a:rPr lang="en-GB" sz="1200" dirty="0"/>
                        <a:t>Brand reviews</a:t>
                      </a:r>
                    </a:p>
                  </a:txBody>
                  <a:tcPr>
                    <a:solidFill>
                      <a:schemeClr val="bg1">
                        <a:lumMod val="95000"/>
                      </a:schemeClr>
                    </a:solidFill>
                  </a:tcPr>
                </a:tc>
                <a:tc>
                  <a:txBody>
                    <a:bodyPr/>
                    <a:lstStyle/>
                    <a:p>
                      <a:r>
                        <a:rPr lang="en-GB" sz="1200" dirty="0"/>
                        <a:t>Weaknesses </a:t>
                      </a:r>
                    </a:p>
                  </a:txBody>
                  <a:tcPr>
                    <a:solidFill>
                      <a:schemeClr val="bg1">
                        <a:lumMod val="95000"/>
                      </a:schemeClr>
                    </a:solidFill>
                  </a:tcPr>
                </a:tc>
                <a:extLst>
                  <a:ext uri="{0D108BD9-81ED-4DB2-BD59-A6C34878D82A}">
                    <a16:rowId xmlns:a16="http://schemas.microsoft.com/office/drawing/2014/main" val="118123027"/>
                  </a:ext>
                </a:extLst>
              </a:tr>
              <a:tr h="301376">
                <a:tc>
                  <a:txBody>
                    <a:bodyPr/>
                    <a:lstStyle/>
                    <a:p>
                      <a:r>
                        <a:rPr lang="en-GB" sz="1200" dirty="0"/>
                        <a:t>Account / Customers</a:t>
                      </a:r>
                    </a:p>
                  </a:txBody>
                  <a:tcPr>
                    <a:solidFill>
                      <a:schemeClr val="bg1">
                        <a:lumMod val="95000"/>
                      </a:schemeClr>
                    </a:solidFill>
                  </a:tcPr>
                </a:tc>
                <a:tc>
                  <a:txBody>
                    <a:bodyPr/>
                    <a:lstStyle/>
                    <a:p>
                      <a:r>
                        <a:rPr lang="en-GB" sz="1200" dirty="0"/>
                        <a:t>Brand Shares Volume</a:t>
                      </a:r>
                    </a:p>
                  </a:txBody>
                  <a:tcPr>
                    <a:solidFill>
                      <a:schemeClr val="bg1">
                        <a:lumMod val="95000"/>
                      </a:schemeClr>
                    </a:solidFill>
                  </a:tcPr>
                </a:tc>
                <a:tc>
                  <a:txBody>
                    <a:bodyPr/>
                    <a:lstStyle/>
                    <a:p>
                      <a:r>
                        <a:rPr lang="en-GB" sz="1200" dirty="0"/>
                        <a:t>Channel reviews </a:t>
                      </a:r>
                    </a:p>
                  </a:txBody>
                  <a:tcPr>
                    <a:solidFill>
                      <a:schemeClr val="bg1">
                        <a:lumMod val="95000"/>
                      </a:schemeClr>
                    </a:solidFill>
                  </a:tcPr>
                </a:tc>
                <a:tc>
                  <a:txBody>
                    <a:bodyPr/>
                    <a:lstStyle/>
                    <a:p>
                      <a:r>
                        <a:rPr lang="en-GB" sz="1200" dirty="0"/>
                        <a:t>Opportunities </a:t>
                      </a:r>
                    </a:p>
                  </a:txBody>
                  <a:tcPr>
                    <a:solidFill>
                      <a:schemeClr val="bg1">
                        <a:lumMod val="95000"/>
                      </a:schemeClr>
                    </a:solidFill>
                  </a:tcPr>
                </a:tc>
                <a:extLst>
                  <a:ext uri="{0D108BD9-81ED-4DB2-BD59-A6C34878D82A}">
                    <a16:rowId xmlns:a16="http://schemas.microsoft.com/office/drawing/2014/main" val="4246901403"/>
                  </a:ext>
                </a:extLst>
              </a:tr>
              <a:tr h="301376">
                <a:tc>
                  <a:txBody>
                    <a:bodyPr/>
                    <a:lstStyle/>
                    <a:p>
                      <a:r>
                        <a:rPr lang="en-GB" sz="1200" dirty="0"/>
                        <a:t>Competing brands </a:t>
                      </a:r>
                    </a:p>
                  </a:txBody>
                  <a:tcPr>
                    <a:solidFill>
                      <a:schemeClr val="bg1">
                        <a:lumMod val="95000"/>
                      </a:schemeClr>
                    </a:solidFill>
                  </a:tcPr>
                </a:tc>
                <a:tc>
                  <a:txBody>
                    <a:bodyPr/>
                    <a:lstStyle/>
                    <a:p>
                      <a:r>
                        <a:rPr lang="en-GB" sz="1200" dirty="0"/>
                        <a:t>Brand Shares in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r>
                        <a:rPr lang="en-GB" sz="1200" dirty="0"/>
                        <a:t>Threats</a:t>
                      </a:r>
                    </a:p>
                  </a:txBody>
                  <a:tcPr>
                    <a:solidFill>
                      <a:schemeClr val="bg1">
                        <a:lumMod val="95000"/>
                      </a:schemeClr>
                    </a:solidFill>
                  </a:tcPr>
                </a:tc>
                <a:extLst>
                  <a:ext uri="{0D108BD9-81ED-4DB2-BD59-A6C34878D82A}">
                    <a16:rowId xmlns:a16="http://schemas.microsoft.com/office/drawing/2014/main" val="1086604594"/>
                  </a:ext>
                </a:extLst>
              </a:tr>
              <a:tr h="301376">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942931181"/>
                  </a:ext>
                </a:extLst>
              </a:tr>
              <a:tr h="301376">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90979866"/>
                  </a:ext>
                </a:extLst>
              </a:tr>
              <a:tr h="301376">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78758876"/>
                  </a:ext>
                </a:extLst>
              </a:tr>
            </a:tbl>
          </a:graphicData>
        </a:graphic>
      </p:graphicFrame>
      <p:sp>
        <p:nvSpPr>
          <p:cNvPr id="7" name="Rectangle 6">
            <a:extLst>
              <a:ext uri="{FF2B5EF4-FFF2-40B4-BE49-F238E27FC236}">
                <a16:creationId xmlns:a16="http://schemas.microsoft.com/office/drawing/2014/main" id="{E7054A66-440C-8443-512A-362F471E1719}"/>
              </a:ext>
            </a:extLst>
          </p:cNvPr>
          <p:cNvSpPr/>
          <p:nvPr/>
        </p:nvSpPr>
        <p:spPr>
          <a:xfrm>
            <a:off x="653143" y="4968390"/>
            <a:ext cx="8432299" cy="536028"/>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The above pertains to useful information on one sheet as the idea of trade marketing is to review one category and brand at a time , including conflicting brands and categories into one analysis will not serve any clear purpose. </a:t>
            </a:r>
          </a:p>
        </p:txBody>
      </p:sp>
    </p:spTree>
    <p:extLst>
      <p:ext uri="{BB962C8B-B14F-4D97-AF65-F5344CB8AC3E}">
        <p14:creationId xmlns:p14="http://schemas.microsoft.com/office/powerpoint/2010/main" val="24484313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43AF00-BD5A-D419-DFE6-073B2A669DD5}"/>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Pl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ategory Overview </a:t>
            </a:r>
          </a:p>
        </p:txBody>
      </p:sp>
      <p:pic>
        <p:nvPicPr>
          <p:cNvPr id="3" name="Picture 2" descr="Logo&#10;&#10;Description automatically generated">
            <a:extLst>
              <a:ext uri="{FF2B5EF4-FFF2-40B4-BE49-F238E27FC236}">
                <a16:creationId xmlns:a16="http://schemas.microsoft.com/office/drawing/2014/main" id="{70DE14FA-6BD3-1326-4E43-5D8A5BE1A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B4F967E1-4774-9DC4-7426-D528AF360E2D}"/>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5" name="Table 5">
            <a:extLst>
              <a:ext uri="{FF2B5EF4-FFF2-40B4-BE49-F238E27FC236}">
                <a16:creationId xmlns:a16="http://schemas.microsoft.com/office/drawing/2014/main" id="{44F2C7DE-16E2-BFF7-1B2F-85794C3A6AEF}"/>
              </a:ext>
            </a:extLst>
          </p:cNvPr>
          <p:cNvGraphicFramePr>
            <a:graphicFrameLocks noGrp="1"/>
          </p:cNvGraphicFramePr>
          <p:nvPr>
            <p:extLst>
              <p:ext uri="{D42A27DB-BD31-4B8C-83A1-F6EECF244321}">
                <p14:modId xmlns:p14="http://schemas.microsoft.com/office/powerpoint/2010/main" val="932982134"/>
              </p:ext>
            </p:extLst>
          </p:nvPr>
        </p:nvGraphicFramePr>
        <p:xfrm>
          <a:off x="662652" y="1360339"/>
          <a:ext cx="10251591" cy="3861206"/>
        </p:xfrm>
        <a:graphic>
          <a:graphicData uri="http://schemas.openxmlformats.org/drawingml/2006/table">
            <a:tbl>
              <a:tblPr firstRow="1" bandRow="1">
                <a:tableStyleId>{5C22544A-7EE6-4342-B048-85BDC9FD1C3A}</a:tableStyleId>
              </a:tblPr>
              <a:tblGrid>
                <a:gridCol w="2747204">
                  <a:extLst>
                    <a:ext uri="{9D8B030D-6E8A-4147-A177-3AD203B41FA5}">
                      <a16:colId xmlns:a16="http://schemas.microsoft.com/office/drawing/2014/main" val="1207560090"/>
                    </a:ext>
                  </a:extLst>
                </a:gridCol>
                <a:gridCol w="2707165">
                  <a:extLst>
                    <a:ext uri="{9D8B030D-6E8A-4147-A177-3AD203B41FA5}">
                      <a16:colId xmlns:a16="http://schemas.microsoft.com/office/drawing/2014/main" val="4118078510"/>
                    </a:ext>
                  </a:extLst>
                </a:gridCol>
                <a:gridCol w="2234324">
                  <a:extLst>
                    <a:ext uri="{9D8B030D-6E8A-4147-A177-3AD203B41FA5}">
                      <a16:colId xmlns:a16="http://schemas.microsoft.com/office/drawing/2014/main" val="2559892957"/>
                    </a:ext>
                  </a:extLst>
                </a:gridCol>
                <a:gridCol w="2562898">
                  <a:extLst>
                    <a:ext uri="{9D8B030D-6E8A-4147-A177-3AD203B41FA5}">
                      <a16:colId xmlns:a16="http://schemas.microsoft.com/office/drawing/2014/main" val="364046904"/>
                    </a:ext>
                  </a:extLst>
                </a:gridCol>
              </a:tblGrid>
              <a:tr h="372898">
                <a:tc>
                  <a:txBody>
                    <a:bodyPr/>
                    <a:lstStyle/>
                    <a:p>
                      <a:r>
                        <a:rPr lang="en-GB" sz="1600" dirty="0"/>
                        <a:t>Business</a:t>
                      </a:r>
                    </a:p>
                  </a:txBody>
                  <a:tcPr/>
                </a:tc>
                <a:tc>
                  <a:txBody>
                    <a:bodyPr/>
                    <a:lstStyle/>
                    <a:p>
                      <a:endParaRPr lang="en-GB" sz="1600" dirty="0"/>
                    </a:p>
                  </a:txBody>
                  <a:tcPr/>
                </a:tc>
                <a:tc>
                  <a:txBody>
                    <a:bodyPr/>
                    <a:lstStyle/>
                    <a:p>
                      <a:r>
                        <a:rPr lang="en-GB" sz="1600" dirty="0"/>
                        <a:t>Country – Canada </a:t>
                      </a:r>
                    </a:p>
                  </a:txBody>
                  <a:tcPr/>
                </a:tc>
                <a:tc>
                  <a:txBody>
                    <a:bodyPr/>
                    <a:lstStyle/>
                    <a:p>
                      <a:r>
                        <a:rPr lang="en-GB" sz="1600" dirty="0"/>
                        <a:t>City - Vancouver</a:t>
                      </a:r>
                    </a:p>
                  </a:txBody>
                  <a:tcPr/>
                </a:tc>
                <a:extLst>
                  <a:ext uri="{0D108BD9-81ED-4DB2-BD59-A6C34878D82A}">
                    <a16:rowId xmlns:a16="http://schemas.microsoft.com/office/drawing/2014/main" val="81982691"/>
                  </a:ext>
                </a:extLst>
              </a:tr>
              <a:tr h="297206">
                <a:tc>
                  <a:txBody>
                    <a:bodyPr/>
                    <a:lstStyle/>
                    <a:p>
                      <a:endParaRPr lang="en-GB" sz="1200" dirty="0"/>
                    </a:p>
                  </a:txBody>
                  <a:tcPr>
                    <a:solidFill>
                      <a:schemeClr val="bg1"/>
                    </a:solidFill>
                  </a:tcPr>
                </a:tc>
                <a:tc>
                  <a:txBody>
                    <a:bodyPr/>
                    <a:lstStyle/>
                    <a:p>
                      <a:endParaRPr lang="en-GB" sz="1200" dirty="0"/>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dirty="0">
                          <a:solidFill>
                            <a:schemeClr val="bg1"/>
                          </a:solidFill>
                        </a:rPr>
                        <a:t>Account – Farm Fresh </a:t>
                      </a:r>
                      <a:endParaRPr lang="en-GB" sz="1200" dirty="0"/>
                    </a:p>
                  </a:txBody>
                  <a:tcPr>
                    <a:solidFill>
                      <a:schemeClr val="accent1"/>
                    </a:solidFill>
                  </a:tcPr>
                </a:tc>
                <a:tc>
                  <a:txBody>
                    <a:bodyPr/>
                    <a:lstStyle/>
                    <a:p>
                      <a:r>
                        <a:rPr lang="en-GB" sz="1200" i="1" dirty="0">
                          <a:solidFill>
                            <a:schemeClr val="bg1"/>
                          </a:solidFill>
                        </a:rPr>
                        <a:t>Category – Batteries </a:t>
                      </a:r>
                    </a:p>
                  </a:txBody>
                  <a:tcPr>
                    <a:solidFill>
                      <a:schemeClr val="accent1"/>
                    </a:solidFill>
                  </a:tcPr>
                </a:tc>
                <a:extLst>
                  <a:ext uri="{0D108BD9-81ED-4DB2-BD59-A6C34878D82A}">
                    <a16:rowId xmlns:a16="http://schemas.microsoft.com/office/drawing/2014/main" val="522195604"/>
                  </a:ext>
                </a:extLst>
              </a:tr>
              <a:tr h="297206">
                <a:tc>
                  <a:txBody>
                    <a:bodyPr/>
                    <a:lstStyle/>
                    <a:p>
                      <a:pPr algn="ctr"/>
                      <a:r>
                        <a:rPr lang="en-GB" sz="1200" b="1" dirty="0">
                          <a:solidFill>
                            <a:schemeClr val="bg1"/>
                          </a:solidFill>
                        </a:rPr>
                        <a:t>Overview</a:t>
                      </a:r>
                    </a:p>
                  </a:txBody>
                  <a:tcPr>
                    <a:solidFill>
                      <a:schemeClr val="accent1"/>
                    </a:solidFill>
                  </a:tcPr>
                </a:tc>
                <a:tc>
                  <a:txBody>
                    <a:bodyPr/>
                    <a:lstStyle/>
                    <a:p>
                      <a:pPr algn="ctr"/>
                      <a:r>
                        <a:rPr lang="en-GB" sz="1200" b="1" dirty="0">
                          <a:solidFill>
                            <a:schemeClr val="bg1"/>
                          </a:solidFill>
                        </a:rPr>
                        <a:t>Alkaline</a:t>
                      </a:r>
                    </a:p>
                  </a:txBody>
                  <a:tcPr>
                    <a:solidFill>
                      <a:schemeClr val="accent1"/>
                    </a:solidFill>
                  </a:tcPr>
                </a:tc>
                <a:tc>
                  <a:txBody>
                    <a:bodyPr/>
                    <a:lstStyle/>
                    <a:p>
                      <a:pPr algn="ctr"/>
                      <a:r>
                        <a:rPr lang="en-GB" sz="1200" b="1" dirty="0">
                          <a:solidFill>
                            <a:schemeClr val="bg1"/>
                          </a:solidFill>
                        </a:rPr>
                        <a:t>Lithium Iron </a:t>
                      </a:r>
                    </a:p>
                  </a:txBody>
                  <a:tcPr>
                    <a:solidFill>
                      <a:schemeClr val="accent1"/>
                    </a:solidFill>
                  </a:tcPr>
                </a:tc>
                <a:tc>
                  <a:txBody>
                    <a:bodyPr/>
                    <a:lstStyle/>
                    <a:p>
                      <a:pPr algn="ctr"/>
                      <a:r>
                        <a:rPr lang="en-GB" sz="1200" b="1" dirty="0">
                          <a:solidFill>
                            <a:schemeClr val="bg1"/>
                          </a:solidFill>
                        </a:rPr>
                        <a:t>Total </a:t>
                      </a:r>
                    </a:p>
                  </a:txBody>
                  <a:tcPr>
                    <a:solidFill>
                      <a:schemeClr val="accent1"/>
                    </a:solidFill>
                  </a:tcPr>
                </a:tc>
                <a:extLst>
                  <a:ext uri="{0D108BD9-81ED-4DB2-BD59-A6C34878D82A}">
                    <a16:rowId xmlns:a16="http://schemas.microsoft.com/office/drawing/2014/main" val="385497981"/>
                  </a:ext>
                </a:extLst>
              </a:tr>
              <a:tr h="321544">
                <a:tc>
                  <a:txBody>
                    <a:bodyPr/>
                    <a:lstStyle/>
                    <a:p>
                      <a:r>
                        <a:rPr lang="en-GB" sz="1200" dirty="0"/>
                        <a:t>Category size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28912356"/>
                  </a:ext>
                </a:extLst>
              </a:tr>
              <a:tr h="321544">
                <a:tc>
                  <a:txBody>
                    <a:bodyPr/>
                    <a:lstStyle/>
                    <a:p>
                      <a:r>
                        <a:rPr lang="en-GB" sz="1200" dirty="0"/>
                        <a:t>Competing Brand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12073081"/>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Category segmentation</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18123027"/>
                  </a:ext>
                </a:extLst>
              </a:tr>
              <a:tr h="321544">
                <a:tc>
                  <a:txBody>
                    <a:bodyPr/>
                    <a:lstStyle/>
                    <a:p>
                      <a:r>
                        <a:rPr lang="en-GB" sz="1200" dirty="0"/>
                        <a:t>Dominant Channel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46901403"/>
                  </a:ext>
                </a:extLst>
              </a:tr>
              <a:tr h="321544">
                <a:tc>
                  <a:txBody>
                    <a:bodyPr/>
                    <a:lstStyle/>
                    <a:p>
                      <a:r>
                        <a:rPr lang="en-GB" sz="1200" dirty="0"/>
                        <a:t>Support channel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086604594"/>
                  </a:ext>
                </a:extLst>
              </a:tr>
              <a:tr h="321544">
                <a:tc>
                  <a:txBody>
                    <a:bodyPr/>
                    <a:lstStyle/>
                    <a:p>
                      <a:r>
                        <a:rPr lang="en-GB" sz="1200" dirty="0"/>
                        <a:t>Category size in units</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942931181"/>
                  </a:ext>
                </a:extLst>
              </a:tr>
              <a:tr h="321544">
                <a:tc>
                  <a:txBody>
                    <a:bodyPr/>
                    <a:lstStyle/>
                    <a:p>
                      <a:r>
                        <a:rPr lang="en-GB" sz="1200" dirty="0"/>
                        <a:t>Category size in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90979866"/>
                  </a:ext>
                </a:extLst>
              </a:tr>
              <a:tr h="321544">
                <a:tc>
                  <a:txBody>
                    <a:bodyPr/>
                    <a:lstStyle/>
                    <a:p>
                      <a:r>
                        <a:rPr lang="en-GB" sz="1200" dirty="0"/>
                        <a:t>Brand shares in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452815385"/>
                  </a:ext>
                </a:extLst>
              </a:tr>
              <a:tr h="321544">
                <a:tc>
                  <a:txBody>
                    <a:bodyPr/>
                    <a:lstStyle/>
                    <a:p>
                      <a:r>
                        <a:rPr lang="en-GB" sz="1200" dirty="0"/>
                        <a:t>Brand shares in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78758876"/>
                  </a:ext>
                </a:extLst>
              </a:tr>
            </a:tbl>
          </a:graphicData>
        </a:graphic>
      </p:graphicFrame>
      <p:sp>
        <p:nvSpPr>
          <p:cNvPr id="7" name="Rectangle 6">
            <a:extLst>
              <a:ext uri="{FF2B5EF4-FFF2-40B4-BE49-F238E27FC236}">
                <a16:creationId xmlns:a16="http://schemas.microsoft.com/office/drawing/2014/main" id="{E7054A66-440C-8443-512A-362F471E1719}"/>
              </a:ext>
            </a:extLst>
          </p:cNvPr>
          <p:cNvSpPr/>
          <p:nvPr/>
        </p:nvSpPr>
        <p:spPr>
          <a:xfrm>
            <a:off x="644134" y="5486400"/>
            <a:ext cx="10180019" cy="536028"/>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Com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Retail audit companies and some other research companies generally provide the above data on request which is based on retail POS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black"/>
              </a:solidFill>
              <a:effectLst/>
              <a:uLnTx/>
              <a:uFillTx/>
              <a:latin typeface="Lato Light"/>
              <a:ea typeface="+mn-ea"/>
              <a:cs typeface="+mn-cs"/>
            </a:endParaRPr>
          </a:p>
        </p:txBody>
      </p:sp>
    </p:spTree>
    <p:extLst>
      <p:ext uri="{BB962C8B-B14F-4D97-AF65-F5344CB8AC3E}">
        <p14:creationId xmlns:p14="http://schemas.microsoft.com/office/powerpoint/2010/main" val="40940983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43AF00-BD5A-D419-DFE6-073B2A669DD5}"/>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Overview </a:t>
            </a:r>
          </a:p>
        </p:txBody>
      </p:sp>
      <p:pic>
        <p:nvPicPr>
          <p:cNvPr id="3" name="Picture 2" descr="Logo&#10;&#10;Description automatically generated">
            <a:extLst>
              <a:ext uri="{FF2B5EF4-FFF2-40B4-BE49-F238E27FC236}">
                <a16:creationId xmlns:a16="http://schemas.microsoft.com/office/drawing/2014/main" id="{70DE14FA-6BD3-1326-4E43-5D8A5BE1A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B4F967E1-4774-9DC4-7426-D528AF360E2D}"/>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5" name="Table 5">
            <a:extLst>
              <a:ext uri="{FF2B5EF4-FFF2-40B4-BE49-F238E27FC236}">
                <a16:creationId xmlns:a16="http://schemas.microsoft.com/office/drawing/2014/main" id="{44F2C7DE-16E2-BFF7-1B2F-85794C3A6AEF}"/>
              </a:ext>
            </a:extLst>
          </p:cNvPr>
          <p:cNvGraphicFramePr>
            <a:graphicFrameLocks noGrp="1"/>
          </p:cNvGraphicFramePr>
          <p:nvPr>
            <p:extLst>
              <p:ext uri="{D42A27DB-BD31-4B8C-83A1-F6EECF244321}">
                <p14:modId xmlns:p14="http://schemas.microsoft.com/office/powerpoint/2010/main" val="2995374865"/>
              </p:ext>
            </p:extLst>
          </p:nvPr>
        </p:nvGraphicFramePr>
        <p:xfrm>
          <a:off x="725714" y="1054038"/>
          <a:ext cx="10251591" cy="4431280"/>
        </p:xfrm>
        <a:graphic>
          <a:graphicData uri="http://schemas.openxmlformats.org/drawingml/2006/table">
            <a:tbl>
              <a:tblPr firstRow="1" bandRow="1">
                <a:tableStyleId>{5C22544A-7EE6-4342-B048-85BDC9FD1C3A}</a:tableStyleId>
              </a:tblPr>
              <a:tblGrid>
                <a:gridCol w="2747204">
                  <a:extLst>
                    <a:ext uri="{9D8B030D-6E8A-4147-A177-3AD203B41FA5}">
                      <a16:colId xmlns:a16="http://schemas.microsoft.com/office/drawing/2014/main" val="1207560090"/>
                    </a:ext>
                  </a:extLst>
                </a:gridCol>
                <a:gridCol w="2707165">
                  <a:extLst>
                    <a:ext uri="{9D8B030D-6E8A-4147-A177-3AD203B41FA5}">
                      <a16:colId xmlns:a16="http://schemas.microsoft.com/office/drawing/2014/main" val="4118078510"/>
                    </a:ext>
                  </a:extLst>
                </a:gridCol>
                <a:gridCol w="2234324">
                  <a:extLst>
                    <a:ext uri="{9D8B030D-6E8A-4147-A177-3AD203B41FA5}">
                      <a16:colId xmlns:a16="http://schemas.microsoft.com/office/drawing/2014/main" val="2559892957"/>
                    </a:ext>
                  </a:extLst>
                </a:gridCol>
                <a:gridCol w="2562898">
                  <a:extLst>
                    <a:ext uri="{9D8B030D-6E8A-4147-A177-3AD203B41FA5}">
                      <a16:colId xmlns:a16="http://schemas.microsoft.com/office/drawing/2014/main" val="364046904"/>
                    </a:ext>
                  </a:extLst>
                </a:gridCol>
              </a:tblGrid>
              <a:tr h="372898">
                <a:tc>
                  <a:txBody>
                    <a:bodyPr/>
                    <a:lstStyle/>
                    <a:p>
                      <a:pPr algn="ctr"/>
                      <a:r>
                        <a:rPr lang="en-GB" sz="1400" dirty="0">
                          <a:solidFill>
                            <a:schemeClr val="bg1"/>
                          </a:solidFill>
                        </a:rPr>
                        <a:t>Business</a:t>
                      </a:r>
                    </a:p>
                  </a:txBody>
                  <a:tcPr/>
                </a:tc>
                <a:tc>
                  <a:txBody>
                    <a:bodyPr/>
                    <a:lstStyle/>
                    <a:p>
                      <a:pPr algn="ctr"/>
                      <a:r>
                        <a:rPr lang="en-GB" sz="1400" dirty="0">
                          <a:solidFill>
                            <a:schemeClr val="bg1"/>
                          </a:solidFill>
                        </a:rPr>
                        <a:t>Country </a:t>
                      </a:r>
                    </a:p>
                  </a:txBody>
                  <a:tcPr/>
                </a:tc>
                <a:tc>
                  <a:txBody>
                    <a:bodyPr/>
                    <a:lstStyle/>
                    <a:p>
                      <a:pPr algn="ctr"/>
                      <a:r>
                        <a:rPr lang="en-GB" sz="1400" dirty="0">
                          <a:solidFill>
                            <a:schemeClr val="bg1"/>
                          </a:solidFill>
                        </a:rPr>
                        <a:t>State </a:t>
                      </a:r>
                    </a:p>
                  </a:txBody>
                  <a:tcPr/>
                </a:tc>
                <a:tc>
                  <a:txBody>
                    <a:bodyPr/>
                    <a:lstStyle/>
                    <a:p>
                      <a:pPr algn="ctr"/>
                      <a:r>
                        <a:rPr lang="en-GB" sz="1400" dirty="0">
                          <a:solidFill>
                            <a:schemeClr val="bg1"/>
                          </a:solidFill>
                        </a:rPr>
                        <a:t>City </a:t>
                      </a:r>
                    </a:p>
                  </a:txBody>
                  <a:tcPr/>
                </a:tc>
                <a:extLst>
                  <a:ext uri="{0D108BD9-81ED-4DB2-BD59-A6C34878D82A}">
                    <a16:rowId xmlns:a16="http://schemas.microsoft.com/office/drawing/2014/main" val="81982691"/>
                  </a:ext>
                </a:extLst>
              </a:tr>
              <a:tr h="297206">
                <a:tc>
                  <a:txBody>
                    <a:bodyPr/>
                    <a:lstStyle/>
                    <a:p>
                      <a:r>
                        <a:rPr lang="en-GB" sz="1200" dirty="0"/>
                        <a:t>Customer</a:t>
                      </a:r>
                    </a:p>
                  </a:txBody>
                  <a:tcPr>
                    <a:solidFill>
                      <a:schemeClr val="bg1">
                        <a:lumMod val="95000"/>
                      </a:schemeClr>
                    </a:solidFill>
                  </a:tcPr>
                </a:tc>
                <a:tc>
                  <a:txBody>
                    <a:bodyPr/>
                    <a:lstStyle/>
                    <a:p>
                      <a:r>
                        <a:rPr lang="en-GB" sz="1100" i="1" dirty="0"/>
                        <a:t>Pentagon Enterprises LLC , Vancouver</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3073184419"/>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Category</a:t>
                      </a:r>
                    </a:p>
                  </a:txBody>
                  <a:tcPr>
                    <a:solidFill>
                      <a:schemeClr val="bg1">
                        <a:lumMod val="95000"/>
                      </a:schemeClr>
                    </a:solidFill>
                  </a:tcPr>
                </a:tc>
                <a:tc>
                  <a:txBody>
                    <a:bodyPr/>
                    <a:lstStyle/>
                    <a:p>
                      <a:r>
                        <a:rPr lang="en-GB" sz="1100" i="1" dirty="0"/>
                        <a:t>Batteries and Charger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816221093"/>
                  </a:ext>
                </a:extLst>
              </a:tr>
              <a:tr h="297206">
                <a:tc>
                  <a:txBody>
                    <a:bodyPr/>
                    <a:lstStyle/>
                    <a:p>
                      <a:r>
                        <a:rPr lang="en-GB" sz="1200" dirty="0"/>
                        <a:t>Brand </a:t>
                      </a:r>
                    </a:p>
                  </a:txBody>
                  <a:tcPr>
                    <a:solidFill>
                      <a:schemeClr val="bg1">
                        <a:lumMod val="95000"/>
                      </a:schemeClr>
                    </a:solidFill>
                  </a:tcPr>
                </a:tc>
                <a:tc>
                  <a:txBody>
                    <a:bodyPr/>
                    <a:lstStyle/>
                    <a:p>
                      <a:pPr algn="l"/>
                      <a:r>
                        <a:rPr lang="en-GB" sz="1100" i="1" dirty="0">
                          <a:solidFill>
                            <a:schemeClr val="tx1"/>
                          </a:solidFill>
                        </a:rPr>
                        <a:t>Cider Batteries</a:t>
                      </a:r>
                    </a:p>
                  </a:txBody>
                  <a:tcPr>
                    <a:solidFill>
                      <a:schemeClr val="bg1">
                        <a:lumMod val="95000"/>
                      </a:schemeClr>
                    </a:solidFill>
                  </a:tcPr>
                </a:tc>
                <a:tc>
                  <a:txBody>
                    <a:bodyPr/>
                    <a:lstStyle/>
                    <a:p>
                      <a:pPr algn="ctr"/>
                      <a:endParaRPr lang="en-GB" sz="1200" dirty="0">
                        <a:solidFill>
                          <a:schemeClr val="tx1"/>
                        </a:solidFill>
                      </a:endParaRPr>
                    </a:p>
                  </a:txBody>
                  <a:tcPr>
                    <a:solidFill>
                      <a:schemeClr val="bg1">
                        <a:lumMod val="95000"/>
                      </a:schemeClr>
                    </a:solidFill>
                  </a:tcPr>
                </a:tc>
                <a:tc>
                  <a:txBody>
                    <a:bodyPr/>
                    <a:lstStyle/>
                    <a:p>
                      <a:pPr algn="ctr"/>
                      <a:endParaRPr lang="en-GB" sz="1200" dirty="0">
                        <a:solidFill>
                          <a:schemeClr val="tx1"/>
                        </a:solidFill>
                      </a:endParaRPr>
                    </a:p>
                  </a:txBody>
                  <a:tcPr>
                    <a:solidFill>
                      <a:schemeClr val="bg1">
                        <a:lumMod val="95000"/>
                      </a:schemeClr>
                    </a:solidFill>
                  </a:tcPr>
                </a:tc>
                <a:extLst>
                  <a:ext uri="{0D108BD9-81ED-4DB2-BD59-A6C34878D82A}">
                    <a16:rowId xmlns:a16="http://schemas.microsoft.com/office/drawing/2014/main" val="1130243688"/>
                  </a:ext>
                </a:extLst>
              </a:tr>
              <a:tr h="297206">
                <a:tc>
                  <a:txBody>
                    <a:bodyPr/>
                    <a:lstStyle/>
                    <a:p>
                      <a:endParaRPr lang="en-GB" sz="1200" dirty="0"/>
                    </a:p>
                  </a:txBody>
                  <a:tcPr>
                    <a:solidFill>
                      <a:schemeClr val="bg1">
                        <a:lumMod val="95000"/>
                      </a:schemeClr>
                    </a:solidFill>
                  </a:tcPr>
                </a:tc>
                <a:tc>
                  <a:txBody>
                    <a:bodyPr/>
                    <a:lstStyle/>
                    <a:p>
                      <a:pPr algn="ctr"/>
                      <a:r>
                        <a:rPr lang="en-GB" sz="1200" dirty="0">
                          <a:solidFill>
                            <a:schemeClr val="bg1"/>
                          </a:solidFill>
                        </a:rPr>
                        <a:t>Previous year </a:t>
                      </a:r>
                    </a:p>
                  </a:txBody>
                  <a:tcPr>
                    <a:solidFill>
                      <a:schemeClr val="accent1"/>
                    </a:solidFill>
                  </a:tcPr>
                </a:tc>
                <a:tc>
                  <a:txBody>
                    <a:bodyPr/>
                    <a:lstStyle/>
                    <a:p>
                      <a:pPr algn="ctr"/>
                      <a:r>
                        <a:rPr lang="en-GB" sz="1200" dirty="0">
                          <a:solidFill>
                            <a:schemeClr val="bg1"/>
                          </a:solidFill>
                        </a:rPr>
                        <a:t>Last Year </a:t>
                      </a:r>
                    </a:p>
                  </a:txBody>
                  <a:tcPr>
                    <a:solidFill>
                      <a:schemeClr val="accent1"/>
                    </a:solidFill>
                  </a:tcPr>
                </a:tc>
                <a:tc>
                  <a:txBody>
                    <a:bodyPr/>
                    <a:lstStyle/>
                    <a:p>
                      <a:pPr algn="ctr"/>
                      <a:r>
                        <a:rPr lang="en-GB" sz="1200" dirty="0">
                          <a:solidFill>
                            <a:schemeClr val="bg1"/>
                          </a:solidFill>
                        </a:rPr>
                        <a:t>This Year </a:t>
                      </a:r>
                    </a:p>
                  </a:txBody>
                  <a:tcPr>
                    <a:solidFill>
                      <a:schemeClr val="accent1"/>
                    </a:solidFill>
                  </a:tcPr>
                </a:tc>
                <a:extLst>
                  <a:ext uri="{0D108BD9-81ED-4DB2-BD59-A6C34878D82A}">
                    <a16:rowId xmlns:a16="http://schemas.microsoft.com/office/drawing/2014/main" val="2574141459"/>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Category size </a:t>
                      </a:r>
                    </a:p>
                  </a:txBody>
                  <a:tcPr>
                    <a:solidFill>
                      <a:schemeClr val="bg1">
                        <a:lumMod val="95000"/>
                      </a:schemeClr>
                    </a:solidFill>
                  </a:tcPr>
                </a:tc>
                <a:tc>
                  <a:txBody>
                    <a:bodyPr/>
                    <a:lstStyle/>
                    <a:p>
                      <a:r>
                        <a:rPr lang="en-GB" sz="1200" dirty="0"/>
                        <a:t>459 mn $</a:t>
                      </a:r>
                    </a:p>
                  </a:txBody>
                  <a:tcPr>
                    <a:solidFill>
                      <a:schemeClr val="bg1">
                        <a:lumMod val="95000"/>
                      </a:schemeClr>
                    </a:solidFill>
                  </a:tcPr>
                </a:tc>
                <a:tc>
                  <a:txBody>
                    <a:bodyPr/>
                    <a:lstStyle/>
                    <a:p>
                      <a:r>
                        <a:rPr lang="en-GB" sz="1200" dirty="0"/>
                        <a:t>512 mn $</a:t>
                      </a:r>
                    </a:p>
                  </a:txBody>
                  <a:tcPr>
                    <a:solidFill>
                      <a:schemeClr val="bg1">
                        <a:lumMod val="95000"/>
                      </a:schemeClr>
                    </a:solidFill>
                  </a:tcPr>
                </a:tc>
                <a:tc>
                  <a:txBody>
                    <a:bodyPr/>
                    <a:lstStyle/>
                    <a:p>
                      <a:r>
                        <a:rPr lang="en-GB" sz="1200" dirty="0"/>
                        <a:t>569Mn$</a:t>
                      </a:r>
                    </a:p>
                  </a:txBody>
                  <a:tcPr>
                    <a:solidFill>
                      <a:schemeClr val="bg1">
                        <a:lumMod val="95000"/>
                      </a:schemeClr>
                    </a:solidFill>
                  </a:tcPr>
                </a:tc>
                <a:extLst>
                  <a:ext uri="{0D108BD9-81ED-4DB2-BD59-A6C34878D82A}">
                    <a16:rowId xmlns:a16="http://schemas.microsoft.com/office/drawing/2014/main" val="385497981"/>
                  </a:ext>
                </a:extLst>
              </a:tr>
              <a:tr h="321544">
                <a:tc>
                  <a:txBody>
                    <a:bodyPr/>
                    <a:lstStyle/>
                    <a:p>
                      <a:r>
                        <a:rPr lang="en-GB" sz="1200" dirty="0"/>
                        <a:t>Customer Size / Turnover </a:t>
                      </a:r>
                    </a:p>
                  </a:txBody>
                  <a:tcPr>
                    <a:solidFill>
                      <a:schemeClr val="bg1">
                        <a:lumMod val="95000"/>
                      </a:schemeClr>
                    </a:solidFill>
                  </a:tcPr>
                </a:tc>
                <a:tc>
                  <a:txBody>
                    <a:bodyPr/>
                    <a:lstStyle/>
                    <a:p>
                      <a:r>
                        <a:rPr lang="en-GB" sz="1200" dirty="0"/>
                        <a:t>35.00 Mn $</a:t>
                      </a:r>
                    </a:p>
                  </a:txBody>
                  <a:tcPr>
                    <a:solidFill>
                      <a:schemeClr val="bg1">
                        <a:lumMod val="95000"/>
                      </a:schemeClr>
                    </a:solidFill>
                  </a:tcPr>
                </a:tc>
                <a:tc>
                  <a:txBody>
                    <a:bodyPr/>
                    <a:lstStyle/>
                    <a:p>
                      <a:r>
                        <a:rPr lang="en-GB" sz="1200" dirty="0"/>
                        <a:t>36.9mn$</a:t>
                      </a:r>
                    </a:p>
                  </a:txBody>
                  <a:tcPr>
                    <a:solidFill>
                      <a:schemeClr val="bg1">
                        <a:lumMod val="95000"/>
                      </a:schemeClr>
                    </a:solidFill>
                  </a:tcPr>
                </a:tc>
                <a:tc>
                  <a:txBody>
                    <a:bodyPr/>
                    <a:lstStyle/>
                    <a:p>
                      <a:r>
                        <a:rPr lang="en-GB" sz="1200" dirty="0"/>
                        <a:t>39.1 Mn $ ( Est ) </a:t>
                      </a:r>
                    </a:p>
                  </a:txBody>
                  <a:tcPr>
                    <a:solidFill>
                      <a:schemeClr val="bg1">
                        <a:lumMod val="95000"/>
                      </a:schemeClr>
                    </a:solidFill>
                  </a:tcPr>
                </a:tc>
                <a:extLst>
                  <a:ext uri="{0D108BD9-81ED-4DB2-BD59-A6C34878D82A}">
                    <a16:rowId xmlns:a16="http://schemas.microsoft.com/office/drawing/2014/main" val="2428912356"/>
                  </a:ext>
                </a:extLst>
              </a:tr>
              <a:tr h="321544">
                <a:tc>
                  <a:txBody>
                    <a:bodyPr/>
                    <a:lstStyle/>
                    <a:p>
                      <a:r>
                        <a:rPr lang="en-GB" sz="1200" dirty="0"/>
                        <a:t>Competing Brands </a:t>
                      </a:r>
                    </a:p>
                  </a:txBody>
                  <a:tcPr>
                    <a:solidFill>
                      <a:schemeClr val="bg1">
                        <a:lumMod val="95000"/>
                      </a:schemeClr>
                    </a:solidFill>
                  </a:tcPr>
                </a:tc>
                <a:tc>
                  <a:txBody>
                    <a:bodyPr/>
                    <a:lstStyle/>
                    <a:p>
                      <a:r>
                        <a:rPr lang="en-GB" sz="1200" dirty="0"/>
                        <a:t>None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Competing brand XX</a:t>
                      </a:r>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12073081"/>
                  </a:ext>
                </a:extLst>
              </a:tr>
              <a:tr h="321544">
                <a:tc>
                  <a:txBody>
                    <a:bodyPr/>
                    <a:lstStyle/>
                    <a:p>
                      <a:r>
                        <a:rPr lang="en-GB" sz="1200" dirty="0"/>
                        <a:t>Dominant Channels </a:t>
                      </a:r>
                    </a:p>
                  </a:txBody>
                  <a:tcPr>
                    <a:solidFill>
                      <a:schemeClr val="bg1">
                        <a:lumMod val="95000"/>
                      </a:schemeClr>
                    </a:solidFill>
                  </a:tcPr>
                </a:tc>
                <a:tc>
                  <a:txBody>
                    <a:bodyPr/>
                    <a:lstStyle/>
                    <a:p>
                      <a:r>
                        <a:rPr lang="en-GB" sz="1200" dirty="0"/>
                        <a:t>Garages &amp; Dealership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46901403"/>
                  </a:ext>
                </a:extLst>
              </a:tr>
              <a:tr h="321544">
                <a:tc>
                  <a:txBody>
                    <a:bodyPr/>
                    <a:lstStyle/>
                    <a:p>
                      <a:r>
                        <a:rPr lang="en-GB" sz="1200" dirty="0"/>
                        <a:t>Support channels </a:t>
                      </a:r>
                    </a:p>
                  </a:txBody>
                  <a:tcPr>
                    <a:solidFill>
                      <a:schemeClr val="bg1">
                        <a:lumMod val="95000"/>
                      </a:schemeClr>
                    </a:solidFill>
                  </a:tcPr>
                </a:tc>
                <a:tc>
                  <a:txBody>
                    <a:bodyPr/>
                    <a:lstStyle/>
                    <a:p>
                      <a:r>
                        <a:rPr lang="en-GB" sz="1200" dirty="0"/>
                        <a:t>DIY</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086604594"/>
                  </a:ext>
                </a:extLst>
              </a:tr>
              <a:tr h="321544">
                <a:tc>
                  <a:txBody>
                    <a:bodyPr/>
                    <a:lstStyle/>
                    <a:p>
                      <a:r>
                        <a:rPr lang="en-GB" sz="1200" dirty="0"/>
                        <a:t>Category size in units</a:t>
                      </a:r>
                    </a:p>
                  </a:txBody>
                  <a:tcPr>
                    <a:solidFill>
                      <a:schemeClr val="bg1">
                        <a:lumMod val="95000"/>
                      </a:schemeClr>
                    </a:solidFill>
                  </a:tcPr>
                </a:tc>
                <a:tc>
                  <a:txBody>
                    <a:bodyPr/>
                    <a:lstStyle/>
                    <a:p>
                      <a:r>
                        <a:rPr lang="en-GB" sz="1200" dirty="0"/>
                        <a:t>75,000</a:t>
                      </a:r>
                    </a:p>
                  </a:txBody>
                  <a:tcPr>
                    <a:solidFill>
                      <a:schemeClr val="bg1">
                        <a:lumMod val="95000"/>
                      </a:schemeClr>
                    </a:solidFill>
                  </a:tcPr>
                </a:tc>
                <a:tc>
                  <a:txBody>
                    <a:bodyPr/>
                    <a:lstStyle/>
                    <a:p>
                      <a:r>
                        <a:rPr lang="en-GB" sz="1200" dirty="0"/>
                        <a:t>82500</a:t>
                      </a:r>
                    </a:p>
                  </a:txBody>
                  <a:tcPr>
                    <a:solidFill>
                      <a:schemeClr val="bg1">
                        <a:lumMod val="95000"/>
                      </a:schemeClr>
                    </a:solidFill>
                  </a:tcPr>
                </a:tc>
                <a:tc>
                  <a:txBody>
                    <a:bodyPr/>
                    <a:lstStyle/>
                    <a:p>
                      <a:r>
                        <a:rPr lang="en-GB" sz="1200" dirty="0"/>
                        <a:t>90150 Est</a:t>
                      </a:r>
                    </a:p>
                  </a:txBody>
                  <a:tcPr>
                    <a:solidFill>
                      <a:schemeClr val="bg1">
                        <a:lumMod val="95000"/>
                      </a:schemeClr>
                    </a:solidFill>
                  </a:tcPr>
                </a:tc>
                <a:extLst>
                  <a:ext uri="{0D108BD9-81ED-4DB2-BD59-A6C34878D82A}">
                    <a16:rowId xmlns:a16="http://schemas.microsoft.com/office/drawing/2014/main" val="1942931181"/>
                  </a:ext>
                </a:extLst>
              </a:tr>
              <a:tr h="321544">
                <a:tc>
                  <a:txBody>
                    <a:bodyPr/>
                    <a:lstStyle/>
                    <a:p>
                      <a:r>
                        <a:rPr lang="en-GB" sz="1200" dirty="0"/>
                        <a:t>Category size in $</a:t>
                      </a:r>
                    </a:p>
                  </a:txBody>
                  <a:tcPr>
                    <a:solidFill>
                      <a:schemeClr val="bg1">
                        <a:lumMod val="95000"/>
                      </a:schemeClr>
                    </a:solidFill>
                  </a:tcPr>
                </a:tc>
                <a:tc>
                  <a:txBody>
                    <a:bodyPr/>
                    <a:lstStyle/>
                    <a:p>
                      <a:r>
                        <a:rPr lang="en-GB" sz="1200" dirty="0"/>
                        <a:t>459 mn $</a:t>
                      </a:r>
                    </a:p>
                  </a:txBody>
                  <a:tcPr>
                    <a:solidFill>
                      <a:schemeClr val="bg1">
                        <a:lumMod val="95000"/>
                      </a:schemeClr>
                    </a:solidFill>
                  </a:tcPr>
                </a:tc>
                <a:tc>
                  <a:txBody>
                    <a:bodyPr/>
                    <a:lstStyle/>
                    <a:p>
                      <a:r>
                        <a:rPr lang="en-GB" sz="1200" dirty="0"/>
                        <a:t>512 mn $</a:t>
                      </a:r>
                    </a:p>
                  </a:txBody>
                  <a:tcPr>
                    <a:solidFill>
                      <a:schemeClr val="bg1">
                        <a:lumMod val="95000"/>
                      </a:schemeClr>
                    </a:solidFill>
                  </a:tcPr>
                </a:tc>
                <a:tc>
                  <a:txBody>
                    <a:bodyPr/>
                    <a:lstStyle/>
                    <a:p>
                      <a:r>
                        <a:rPr lang="en-GB" sz="1200" dirty="0"/>
                        <a:t>529Mn$</a:t>
                      </a:r>
                    </a:p>
                  </a:txBody>
                  <a:tcPr>
                    <a:solidFill>
                      <a:schemeClr val="bg1">
                        <a:lumMod val="95000"/>
                      </a:schemeClr>
                    </a:solidFill>
                  </a:tcPr>
                </a:tc>
                <a:extLst>
                  <a:ext uri="{0D108BD9-81ED-4DB2-BD59-A6C34878D82A}">
                    <a16:rowId xmlns:a16="http://schemas.microsoft.com/office/drawing/2014/main" val="2490979866"/>
                  </a:ext>
                </a:extLst>
              </a:tr>
              <a:tr h="321544">
                <a:tc>
                  <a:txBody>
                    <a:bodyPr/>
                    <a:lstStyle/>
                    <a:p>
                      <a:r>
                        <a:rPr lang="en-GB" sz="1200" dirty="0"/>
                        <a:t>Brand shares in $</a:t>
                      </a:r>
                    </a:p>
                  </a:txBody>
                  <a:tcPr>
                    <a:solidFill>
                      <a:schemeClr val="bg1">
                        <a:lumMod val="95000"/>
                      </a:schemeClr>
                    </a:solidFill>
                  </a:tcPr>
                </a:tc>
                <a:tc>
                  <a:txBody>
                    <a:bodyPr/>
                    <a:lstStyle/>
                    <a:p>
                      <a:r>
                        <a:rPr lang="en-GB" sz="1200" dirty="0"/>
                        <a:t>7.6%</a:t>
                      </a:r>
                    </a:p>
                  </a:txBody>
                  <a:tcPr>
                    <a:solidFill>
                      <a:schemeClr val="bg1">
                        <a:lumMod val="95000"/>
                      </a:schemeClr>
                    </a:solidFill>
                  </a:tcPr>
                </a:tc>
                <a:tc>
                  <a:txBody>
                    <a:bodyPr/>
                    <a:lstStyle/>
                    <a:p>
                      <a:r>
                        <a:rPr lang="en-GB" sz="1200" dirty="0"/>
                        <a:t>7.20 %</a:t>
                      </a:r>
                    </a:p>
                  </a:txBody>
                  <a:tcPr>
                    <a:solidFill>
                      <a:schemeClr val="bg1">
                        <a:lumMod val="95000"/>
                      </a:schemeClr>
                    </a:solidFill>
                  </a:tcPr>
                </a:tc>
                <a:tc>
                  <a:txBody>
                    <a:bodyPr/>
                    <a:lstStyle/>
                    <a:p>
                      <a:r>
                        <a:rPr lang="en-GB" sz="1200" dirty="0"/>
                        <a:t>7.39%</a:t>
                      </a:r>
                    </a:p>
                  </a:txBody>
                  <a:tcPr>
                    <a:solidFill>
                      <a:schemeClr val="bg1">
                        <a:lumMod val="95000"/>
                      </a:schemeClr>
                    </a:solidFill>
                  </a:tcPr>
                </a:tc>
                <a:extLst>
                  <a:ext uri="{0D108BD9-81ED-4DB2-BD59-A6C34878D82A}">
                    <a16:rowId xmlns:a16="http://schemas.microsoft.com/office/drawing/2014/main" val="1452815385"/>
                  </a:ext>
                </a:extLst>
              </a:tr>
              <a:tr h="321544">
                <a:tc>
                  <a:txBody>
                    <a:bodyPr/>
                    <a:lstStyle/>
                    <a:p>
                      <a:r>
                        <a:rPr lang="en-GB" sz="1200" dirty="0"/>
                        <a:t>Brand shares in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678758876"/>
                  </a:ext>
                </a:extLst>
              </a:tr>
            </a:tbl>
          </a:graphicData>
        </a:graphic>
      </p:graphicFrame>
      <p:sp>
        <p:nvSpPr>
          <p:cNvPr id="7" name="Rectangle 6">
            <a:extLst>
              <a:ext uri="{FF2B5EF4-FFF2-40B4-BE49-F238E27FC236}">
                <a16:creationId xmlns:a16="http://schemas.microsoft.com/office/drawing/2014/main" id="{E7054A66-440C-8443-512A-362F471E1719}"/>
              </a:ext>
            </a:extLst>
          </p:cNvPr>
          <p:cNvSpPr/>
          <p:nvPr/>
        </p:nvSpPr>
        <p:spPr>
          <a:xfrm>
            <a:off x="675665" y="5833241"/>
            <a:ext cx="10180019" cy="536028"/>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prstClr val="black"/>
                </a:solidFill>
                <a:effectLst/>
                <a:uLnTx/>
                <a:uFillTx/>
                <a:latin typeface="Lato Light"/>
                <a:ea typeface="+mn-ea"/>
                <a:cs typeface="+mn-cs"/>
              </a:rPr>
              <a:t>The data above is mainly pertinent to Trade marketing requirements as a basic format  , this is not to be mistaken as a key account template or set of information for the purposes of the exercise .</a:t>
            </a:r>
          </a:p>
        </p:txBody>
      </p:sp>
    </p:spTree>
    <p:extLst>
      <p:ext uri="{BB962C8B-B14F-4D97-AF65-F5344CB8AC3E}">
        <p14:creationId xmlns:p14="http://schemas.microsoft.com/office/powerpoint/2010/main" val="33957668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A43AF00-BD5A-D419-DFE6-073B2A669DD5}"/>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hannel Overview </a:t>
            </a:r>
          </a:p>
        </p:txBody>
      </p:sp>
      <p:pic>
        <p:nvPicPr>
          <p:cNvPr id="3" name="Picture 2" descr="Logo&#10;&#10;Description automatically generated">
            <a:extLst>
              <a:ext uri="{FF2B5EF4-FFF2-40B4-BE49-F238E27FC236}">
                <a16:creationId xmlns:a16="http://schemas.microsoft.com/office/drawing/2014/main" id="{70DE14FA-6BD3-1326-4E43-5D8A5BE1A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B4F967E1-4774-9DC4-7426-D528AF360E2D}"/>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6" name="Table 5">
            <a:extLst>
              <a:ext uri="{FF2B5EF4-FFF2-40B4-BE49-F238E27FC236}">
                <a16:creationId xmlns:a16="http://schemas.microsoft.com/office/drawing/2014/main" id="{B200361E-6F21-9967-676D-C70490A5372F}"/>
              </a:ext>
            </a:extLst>
          </p:cNvPr>
          <p:cNvGraphicFramePr>
            <a:graphicFrameLocks noGrp="1"/>
          </p:cNvGraphicFramePr>
          <p:nvPr/>
        </p:nvGraphicFramePr>
        <p:xfrm>
          <a:off x="1216106" y="939233"/>
          <a:ext cx="10251591" cy="5493264"/>
        </p:xfrm>
        <a:graphic>
          <a:graphicData uri="http://schemas.openxmlformats.org/drawingml/2006/table">
            <a:tbl>
              <a:tblPr firstRow="1" bandRow="1">
                <a:tableStyleId>{5C22544A-7EE6-4342-B048-85BDC9FD1C3A}</a:tableStyleId>
              </a:tblPr>
              <a:tblGrid>
                <a:gridCol w="2747204">
                  <a:extLst>
                    <a:ext uri="{9D8B030D-6E8A-4147-A177-3AD203B41FA5}">
                      <a16:colId xmlns:a16="http://schemas.microsoft.com/office/drawing/2014/main" val="1207560090"/>
                    </a:ext>
                  </a:extLst>
                </a:gridCol>
                <a:gridCol w="2707165">
                  <a:extLst>
                    <a:ext uri="{9D8B030D-6E8A-4147-A177-3AD203B41FA5}">
                      <a16:colId xmlns:a16="http://schemas.microsoft.com/office/drawing/2014/main" val="4118078510"/>
                    </a:ext>
                  </a:extLst>
                </a:gridCol>
                <a:gridCol w="2234324">
                  <a:extLst>
                    <a:ext uri="{9D8B030D-6E8A-4147-A177-3AD203B41FA5}">
                      <a16:colId xmlns:a16="http://schemas.microsoft.com/office/drawing/2014/main" val="2559892957"/>
                    </a:ext>
                  </a:extLst>
                </a:gridCol>
                <a:gridCol w="2562898">
                  <a:extLst>
                    <a:ext uri="{9D8B030D-6E8A-4147-A177-3AD203B41FA5}">
                      <a16:colId xmlns:a16="http://schemas.microsoft.com/office/drawing/2014/main" val="364046904"/>
                    </a:ext>
                  </a:extLst>
                </a:gridCol>
              </a:tblGrid>
              <a:tr h="372898">
                <a:tc>
                  <a:txBody>
                    <a:bodyPr/>
                    <a:lstStyle/>
                    <a:p>
                      <a:r>
                        <a:rPr lang="en-GB" dirty="0"/>
                        <a:t>Business</a:t>
                      </a:r>
                    </a:p>
                  </a:txBody>
                  <a:tcPr/>
                </a:tc>
                <a:tc>
                  <a:txBody>
                    <a:bodyPr/>
                    <a:lstStyle/>
                    <a:p>
                      <a:r>
                        <a:rPr lang="en-GB" dirty="0"/>
                        <a:t>XX</a:t>
                      </a:r>
                    </a:p>
                  </a:txBody>
                  <a:tcPr/>
                </a:tc>
                <a:tc>
                  <a:txBody>
                    <a:bodyPr/>
                    <a:lstStyle/>
                    <a:p>
                      <a:r>
                        <a:rPr lang="en-GB" dirty="0"/>
                        <a:t>Market</a:t>
                      </a:r>
                    </a:p>
                  </a:txBody>
                  <a:tcPr/>
                </a:tc>
                <a:tc>
                  <a:txBody>
                    <a:bodyPr/>
                    <a:lstStyle/>
                    <a:p>
                      <a:r>
                        <a:rPr lang="en-GB" dirty="0"/>
                        <a:t>AA</a:t>
                      </a:r>
                    </a:p>
                  </a:txBody>
                  <a:tcPr/>
                </a:tc>
                <a:extLst>
                  <a:ext uri="{0D108BD9-81ED-4DB2-BD59-A6C34878D82A}">
                    <a16:rowId xmlns:a16="http://schemas.microsoft.com/office/drawing/2014/main" val="81982691"/>
                  </a:ext>
                </a:extLst>
              </a:tr>
              <a:tr h="297206">
                <a:tc>
                  <a:txBody>
                    <a:bodyPr/>
                    <a:lstStyle/>
                    <a:p>
                      <a:r>
                        <a:rPr lang="en-GB" sz="1200" b="1" dirty="0"/>
                        <a:t>Category </a:t>
                      </a:r>
                    </a:p>
                  </a:txBody>
                  <a:tcPr>
                    <a:solidFill>
                      <a:schemeClr val="bg1">
                        <a:lumMod val="95000"/>
                      </a:schemeClr>
                    </a:solidFill>
                  </a:tcPr>
                </a:tc>
                <a:tc>
                  <a:txBody>
                    <a:bodyPr/>
                    <a:lstStyle/>
                    <a:p>
                      <a:r>
                        <a:rPr lang="en-GB" sz="1200" dirty="0"/>
                        <a:t>Batteries and Charger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385497981"/>
                  </a:ext>
                </a:extLst>
              </a:tr>
              <a:tr h="321544">
                <a:tc>
                  <a:txBody>
                    <a:bodyPr/>
                    <a:lstStyle/>
                    <a:p>
                      <a:r>
                        <a:rPr lang="en-GB" sz="1200" b="1" dirty="0"/>
                        <a:t>Category size </a:t>
                      </a:r>
                    </a:p>
                  </a:txBody>
                  <a:tcPr>
                    <a:solidFill>
                      <a:schemeClr val="bg1">
                        <a:lumMod val="95000"/>
                      </a:schemeClr>
                    </a:solidFill>
                  </a:tcPr>
                </a:tc>
                <a:tc>
                  <a:txBody>
                    <a:bodyPr/>
                    <a:lstStyle/>
                    <a:p>
                      <a:r>
                        <a:rPr lang="en-GB" sz="1200" dirty="0"/>
                        <a:t>459 mn $</a:t>
                      </a:r>
                    </a:p>
                  </a:txBody>
                  <a:tcPr>
                    <a:solidFill>
                      <a:schemeClr val="bg1">
                        <a:lumMod val="95000"/>
                      </a:schemeClr>
                    </a:solidFill>
                  </a:tcPr>
                </a:tc>
                <a:tc>
                  <a:txBody>
                    <a:bodyPr/>
                    <a:lstStyle/>
                    <a:p>
                      <a:r>
                        <a:rPr lang="en-GB" sz="1200" dirty="0"/>
                        <a:t>512 mn $</a:t>
                      </a:r>
                    </a:p>
                  </a:txBody>
                  <a:tcPr>
                    <a:solidFill>
                      <a:schemeClr val="bg1">
                        <a:lumMod val="95000"/>
                      </a:schemeClr>
                    </a:solidFill>
                  </a:tcPr>
                </a:tc>
                <a:tc>
                  <a:txBody>
                    <a:bodyPr/>
                    <a:lstStyle/>
                    <a:p>
                      <a:r>
                        <a:rPr lang="en-GB" sz="1200" dirty="0"/>
                        <a:t>529Mn$</a:t>
                      </a:r>
                    </a:p>
                  </a:txBody>
                  <a:tcPr>
                    <a:solidFill>
                      <a:schemeClr val="bg1">
                        <a:lumMod val="95000"/>
                      </a:schemeClr>
                    </a:solidFill>
                  </a:tcPr>
                </a:tc>
                <a:extLst>
                  <a:ext uri="{0D108BD9-81ED-4DB2-BD59-A6C34878D82A}">
                    <a16:rowId xmlns:a16="http://schemas.microsoft.com/office/drawing/2014/main" val="2428912356"/>
                  </a:ext>
                </a:extLst>
              </a:tr>
              <a:tr h="321544">
                <a:tc>
                  <a:txBody>
                    <a:bodyPr/>
                    <a:lstStyle/>
                    <a:p>
                      <a:r>
                        <a:rPr lang="en-GB" sz="1200" b="1" dirty="0"/>
                        <a:t>Competing Brands </a:t>
                      </a:r>
                    </a:p>
                  </a:txBody>
                  <a:tcPr>
                    <a:solidFill>
                      <a:schemeClr val="bg1">
                        <a:lumMod val="95000"/>
                      </a:schemeClr>
                    </a:solidFill>
                  </a:tcPr>
                </a:tc>
                <a:tc>
                  <a:txBody>
                    <a:bodyPr/>
                    <a:lstStyle/>
                    <a:p>
                      <a:pPr algn="ctr"/>
                      <a:r>
                        <a:rPr lang="en-GB" sz="1200" dirty="0">
                          <a:solidFill>
                            <a:schemeClr val="bg1"/>
                          </a:solidFill>
                        </a:rPr>
                        <a:t>Previous year </a:t>
                      </a:r>
                    </a:p>
                  </a:txBody>
                  <a:tcPr>
                    <a:solidFill>
                      <a:schemeClr val="accent1"/>
                    </a:solidFill>
                  </a:tcPr>
                </a:tc>
                <a:tc>
                  <a:txBody>
                    <a:bodyPr/>
                    <a:lstStyle/>
                    <a:p>
                      <a:pPr algn="ctr"/>
                      <a:r>
                        <a:rPr lang="en-GB" sz="1200" dirty="0">
                          <a:solidFill>
                            <a:schemeClr val="bg1"/>
                          </a:solidFill>
                        </a:rPr>
                        <a:t>Last Year </a:t>
                      </a:r>
                    </a:p>
                  </a:txBody>
                  <a:tcPr>
                    <a:solidFill>
                      <a:schemeClr val="accent1"/>
                    </a:solidFill>
                  </a:tcPr>
                </a:tc>
                <a:tc>
                  <a:txBody>
                    <a:bodyPr/>
                    <a:lstStyle/>
                    <a:p>
                      <a:pPr algn="ctr"/>
                      <a:r>
                        <a:rPr lang="en-GB" sz="1200" dirty="0">
                          <a:solidFill>
                            <a:schemeClr val="bg1"/>
                          </a:solidFill>
                        </a:rPr>
                        <a:t>This Year </a:t>
                      </a:r>
                    </a:p>
                  </a:txBody>
                  <a:tcPr>
                    <a:solidFill>
                      <a:schemeClr val="accent1"/>
                    </a:solidFill>
                  </a:tcPr>
                </a:tc>
                <a:extLst>
                  <a:ext uri="{0D108BD9-81ED-4DB2-BD59-A6C34878D82A}">
                    <a16:rowId xmlns:a16="http://schemas.microsoft.com/office/drawing/2014/main" val="1612073081"/>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A</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17.2%</a:t>
                      </a:r>
                    </a:p>
                  </a:txBody>
                  <a:tcPr>
                    <a:solidFill>
                      <a:schemeClr val="bg1">
                        <a:lumMod val="95000"/>
                      </a:schemeClr>
                    </a:solidFill>
                  </a:tcPr>
                </a:tc>
                <a:tc>
                  <a:txBody>
                    <a:bodyPr/>
                    <a:lstStyle/>
                    <a:p>
                      <a:r>
                        <a:rPr lang="en-GB" sz="1200" dirty="0"/>
                        <a:t>17.4%</a:t>
                      </a:r>
                    </a:p>
                  </a:txBody>
                  <a:tcPr>
                    <a:solidFill>
                      <a:schemeClr val="bg1">
                        <a:lumMod val="95000"/>
                      </a:schemeClr>
                    </a:solidFill>
                  </a:tcPr>
                </a:tc>
                <a:tc>
                  <a:txBody>
                    <a:bodyPr/>
                    <a:lstStyle/>
                    <a:p>
                      <a:r>
                        <a:rPr lang="en-GB" sz="1200" dirty="0"/>
                        <a:t>18.9%</a:t>
                      </a:r>
                    </a:p>
                  </a:txBody>
                  <a:tcPr>
                    <a:solidFill>
                      <a:schemeClr val="bg1">
                        <a:lumMod val="95000"/>
                      </a:schemeClr>
                    </a:solidFill>
                  </a:tcPr>
                </a:tc>
                <a:extLst>
                  <a:ext uri="{0D108BD9-81ED-4DB2-BD59-A6C34878D82A}">
                    <a16:rowId xmlns:a16="http://schemas.microsoft.com/office/drawing/2014/main" val="2202087105"/>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B</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9.5%</a:t>
                      </a:r>
                    </a:p>
                  </a:txBody>
                  <a:tcPr>
                    <a:solidFill>
                      <a:schemeClr val="bg1">
                        <a:lumMod val="95000"/>
                      </a:schemeClr>
                    </a:solidFill>
                  </a:tcPr>
                </a:tc>
                <a:tc>
                  <a:txBody>
                    <a:bodyPr/>
                    <a:lstStyle/>
                    <a:p>
                      <a:r>
                        <a:rPr lang="en-GB" sz="1200" dirty="0"/>
                        <a:t>10.5%</a:t>
                      </a:r>
                    </a:p>
                  </a:txBody>
                  <a:tcPr>
                    <a:solidFill>
                      <a:schemeClr val="bg1">
                        <a:lumMod val="95000"/>
                      </a:schemeClr>
                    </a:solidFill>
                  </a:tcPr>
                </a:tc>
                <a:tc>
                  <a:txBody>
                    <a:bodyPr/>
                    <a:lstStyle/>
                    <a:p>
                      <a:r>
                        <a:rPr lang="en-GB" sz="1200" dirty="0"/>
                        <a:t>12%</a:t>
                      </a:r>
                    </a:p>
                  </a:txBody>
                  <a:tcPr>
                    <a:solidFill>
                      <a:schemeClr val="bg1">
                        <a:lumMod val="95000"/>
                      </a:schemeClr>
                    </a:solidFill>
                  </a:tcPr>
                </a:tc>
                <a:extLst>
                  <a:ext uri="{0D108BD9-81ED-4DB2-BD59-A6C34878D82A}">
                    <a16:rowId xmlns:a16="http://schemas.microsoft.com/office/drawing/2014/main" val="871715920"/>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C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24%</a:t>
                      </a:r>
                    </a:p>
                  </a:txBody>
                  <a:tcPr>
                    <a:solidFill>
                      <a:schemeClr val="bg1">
                        <a:lumMod val="95000"/>
                      </a:schemeClr>
                    </a:solidFill>
                  </a:tcPr>
                </a:tc>
                <a:tc>
                  <a:txBody>
                    <a:bodyPr/>
                    <a:lstStyle/>
                    <a:p>
                      <a:r>
                        <a:rPr lang="en-GB" sz="1200" dirty="0"/>
                        <a:t>18%</a:t>
                      </a:r>
                    </a:p>
                  </a:txBody>
                  <a:tcPr>
                    <a:solidFill>
                      <a:schemeClr val="bg1">
                        <a:lumMod val="95000"/>
                      </a:schemeClr>
                    </a:solidFill>
                  </a:tcPr>
                </a:tc>
                <a:tc>
                  <a:txBody>
                    <a:bodyPr/>
                    <a:lstStyle/>
                    <a:p>
                      <a:r>
                        <a:rPr lang="en-GB" sz="1200" dirty="0"/>
                        <a:t>16%</a:t>
                      </a:r>
                    </a:p>
                  </a:txBody>
                  <a:tcPr>
                    <a:solidFill>
                      <a:schemeClr val="bg1">
                        <a:lumMod val="95000"/>
                      </a:schemeClr>
                    </a:solidFill>
                  </a:tcPr>
                </a:tc>
                <a:extLst>
                  <a:ext uri="{0D108BD9-81ED-4DB2-BD59-A6C34878D82A}">
                    <a16:rowId xmlns:a16="http://schemas.microsoft.com/office/drawing/2014/main" val="571825475"/>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t>Channel segmentation</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18123027"/>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Garages</a:t>
                      </a:r>
                    </a:p>
                  </a:txBody>
                  <a:tcPr>
                    <a:solidFill>
                      <a:schemeClr val="bg1">
                        <a:lumMod val="95000"/>
                      </a:schemeClr>
                    </a:solidFill>
                  </a:tcPr>
                </a:tc>
                <a:tc>
                  <a:txBody>
                    <a:bodyPr/>
                    <a:lstStyle/>
                    <a:p>
                      <a:r>
                        <a:rPr lang="en-GB" sz="1200" dirty="0"/>
                        <a:t>38%</a:t>
                      </a:r>
                    </a:p>
                  </a:txBody>
                  <a:tcPr>
                    <a:solidFill>
                      <a:schemeClr val="bg1">
                        <a:lumMod val="95000"/>
                      </a:schemeClr>
                    </a:solidFill>
                  </a:tcPr>
                </a:tc>
                <a:tc>
                  <a:txBody>
                    <a:bodyPr/>
                    <a:lstStyle/>
                    <a:p>
                      <a:r>
                        <a:rPr lang="en-GB" sz="1200" dirty="0"/>
                        <a:t>40%</a:t>
                      </a:r>
                    </a:p>
                  </a:txBody>
                  <a:tcPr>
                    <a:solidFill>
                      <a:schemeClr val="bg1">
                        <a:lumMod val="95000"/>
                      </a:schemeClr>
                    </a:solidFill>
                  </a:tcPr>
                </a:tc>
                <a:tc>
                  <a:txBody>
                    <a:bodyPr/>
                    <a:lstStyle/>
                    <a:p>
                      <a:r>
                        <a:rPr lang="en-GB" sz="1200" dirty="0"/>
                        <a:t>41%</a:t>
                      </a:r>
                    </a:p>
                  </a:txBody>
                  <a:tcPr>
                    <a:solidFill>
                      <a:schemeClr val="bg1">
                        <a:lumMod val="95000"/>
                      </a:schemeClr>
                    </a:solidFill>
                  </a:tcPr>
                </a:tc>
                <a:extLst>
                  <a:ext uri="{0D108BD9-81ED-4DB2-BD59-A6C34878D82A}">
                    <a16:rowId xmlns:a16="http://schemas.microsoft.com/office/drawing/2014/main" val="387940043"/>
                  </a:ext>
                </a:extLst>
              </a:tr>
              <a:tr h="321544">
                <a:tc>
                  <a:txBody>
                    <a:bodyPr/>
                    <a:lstStyle/>
                    <a:p>
                      <a:pPr algn="r"/>
                      <a:r>
                        <a:rPr lang="en-GB" sz="1200" b="1" dirty="0"/>
                        <a:t>DIY</a:t>
                      </a:r>
                    </a:p>
                  </a:txBody>
                  <a:tcPr>
                    <a:solidFill>
                      <a:schemeClr val="bg1">
                        <a:lumMod val="95000"/>
                      </a:schemeClr>
                    </a:solidFill>
                  </a:tcPr>
                </a:tc>
                <a:tc>
                  <a:txBody>
                    <a:bodyPr/>
                    <a:lstStyle/>
                    <a:p>
                      <a:r>
                        <a:rPr lang="en-GB" sz="1200" dirty="0"/>
                        <a:t>25%</a:t>
                      </a:r>
                    </a:p>
                  </a:txBody>
                  <a:tcPr>
                    <a:solidFill>
                      <a:schemeClr val="bg1">
                        <a:lumMod val="95000"/>
                      </a:schemeClr>
                    </a:solidFill>
                  </a:tcPr>
                </a:tc>
                <a:tc>
                  <a:txBody>
                    <a:bodyPr/>
                    <a:lstStyle/>
                    <a:p>
                      <a:r>
                        <a:rPr lang="en-GB" sz="1200" dirty="0"/>
                        <a:t>24%</a:t>
                      </a:r>
                    </a:p>
                  </a:txBody>
                  <a:tcPr>
                    <a:solidFill>
                      <a:schemeClr val="bg1">
                        <a:lumMod val="95000"/>
                      </a:schemeClr>
                    </a:solidFill>
                  </a:tcPr>
                </a:tc>
                <a:tc>
                  <a:txBody>
                    <a:bodyPr/>
                    <a:lstStyle/>
                    <a:p>
                      <a:r>
                        <a:rPr lang="en-GB" sz="1200" dirty="0"/>
                        <a:t>23%</a:t>
                      </a:r>
                    </a:p>
                  </a:txBody>
                  <a:tcPr>
                    <a:solidFill>
                      <a:schemeClr val="bg1">
                        <a:lumMod val="95000"/>
                      </a:schemeClr>
                    </a:solidFill>
                  </a:tcPr>
                </a:tc>
                <a:extLst>
                  <a:ext uri="{0D108BD9-81ED-4DB2-BD59-A6C34878D82A}">
                    <a16:rowId xmlns:a16="http://schemas.microsoft.com/office/drawing/2014/main" val="152720991"/>
                  </a:ext>
                </a:extLst>
              </a:tr>
              <a:tr h="321544">
                <a:tc>
                  <a:txBody>
                    <a:bodyPr/>
                    <a:lstStyle/>
                    <a:p>
                      <a:pPr algn="r"/>
                      <a:r>
                        <a:rPr lang="en-GB" sz="1200" b="1" dirty="0"/>
                        <a:t>Auto Dealerships </a:t>
                      </a:r>
                    </a:p>
                  </a:txBody>
                  <a:tcPr>
                    <a:solidFill>
                      <a:schemeClr val="bg1">
                        <a:lumMod val="95000"/>
                      </a:schemeClr>
                    </a:solidFill>
                  </a:tcPr>
                </a:tc>
                <a:tc>
                  <a:txBody>
                    <a:bodyPr/>
                    <a:lstStyle/>
                    <a:p>
                      <a:r>
                        <a:rPr lang="en-GB" sz="1200" dirty="0"/>
                        <a:t>22%</a:t>
                      </a:r>
                    </a:p>
                  </a:txBody>
                  <a:tcPr>
                    <a:solidFill>
                      <a:schemeClr val="bg1">
                        <a:lumMod val="95000"/>
                      </a:schemeClr>
                    </a:solidFill>
                  </a:tcPr>
                </a:tc>
                <a:tc>
                  <a:txBody>
                    <a:bodyPr/>
                    <a:lstStyle/>
                    <a:p>
                      <a:r>
                        <a:rPr lang="en-GB" sz="1200" dirty="0"/>
                        <a:t>19%</a:t>
                      </a:r>
                    </a:p>
                  </a:txBody>
                  <a:tcPr>
                    <a:solidFill>
                      <a:schemeClr val="bg1">
                        <a:lumMod val="95000"/>
                      </a:schemeClr>
                    </a:solidFill>
                  </a:tcPr>
                </a:tc>
                <a:tc>
                  <a:txBody>
                    <a:bodyPr/>
                    <a:lstStyle/>
                    <a:p>
                      <a:r>
                        <a:rPr lang="en-GB" sz="1200" dirty="0"/>
                        <a:t>17%</a:t>
                      </a:r>
                    </a:p>
                  </a:txBody>
                  <a:tcPr>
                    <a:solidFill>
                      <a:schemeClr val="bg1">
                        <a:lumMod val="95000"/>
                      </a:schemeClr>
                    </a:solidFill>
                  </a:tcPr>
                </a:tc>
                <a:extLst>
                  <a:ext uri="{0D108BD9-81ED-4DB2-BD59-A6C34878D82A}">
                    <a16:rowId xmlns:a16="http://schemas.microsoft.com/office/drawing/2014/main" val="3338590621"/>
                  </a:ext>
                </a:extLst>
              </a:tr>
              <a:tr h="321544">
                <a:tc>
                  <a:txBody>
                    <a:bodyPr/>
                    <a:lstStyle/>
                    <a:p>
                      <a:pPr algn="r"/>
                      <a:r>
                        <a:rPr lang="en-GB" sz="1200" b="1" dirty="0"/>
                        <a:t>Electric Shops </a:t>
                      </a:r>
                    </a:p>
                  </a:txBody>
                  <a:tcPr>
                    <a:solidFill>
                      <a:schemeClr val="bg1">
                        <a:lumMod val="95000"/>
                      </a:schemeClr>
                    </a:solidFill>
                  </a:tcPr>
                </a:tc>
                <a:tc>
                  <a:txBody>
                    <a:bodyPr/>
                    <a:lstStyle/>
                    <a:p>
                      <a:r>
                        <a:rPr lang="en-GB" sz="1200" dirty="0"/>
                        <a:t>15%</a:t>
                      </a:r>
                    </a:p>
                  </a:txBody>
                  <a:tcPr>
                    <a:solidFill>
                      <a:schemeClr val="bg1">
                        <a:lumMod val="95000"/>
                      </a:schemeClr>
                    </a:solidFill>
                  </a:tcPr>
                </a:tc>
                <a:tc>
                  <a:txBody>
                    <a:bodyPr/>
                    <a:lstStyle/>
                    <a:p>
                      <a:r>
                        <a:rPr lang="en-GB" sz="1200" dirty="0"/>
                        <a:t>17%</a:t>
                      </a:r>
                    </a:p>
                  </a:txBody>
                  <a:tcPr>
                    <a:solidFill>
                      <a:schemeClr val="bg1">
                        <a:lumMod val="95000"/>
                      </a:schemeClr>
                    </a:solidFill>
                  </a:tcPr>
                </a:tc>
                <a:tc>
                  <a:txBody>
                    <a:bodyPr/>
                    <a:lstStyle/>
                    <a:p>
                      <a:r>
                        <a:rPr lang="en-GB" sz="1200" dirty="0"/>
                        <a:t>19%</a:t>
                      </a:r>
                    </a:p>
                  </a:txBody>
                  <a:tcPr>
                    <a:solidFill>
                      <a:schemeClr val="bg1">
                        <a:lumMod val="95000"/>
                      </a:schemeClr>
                    </a:solidFill>
                  </a:tcPr>
                </a:tc>
                <a:extLst>
                  <a:ext uri="{0D108BD9-81ED-4DB2-BD59-A6C34878D82A}">
                    <a16:rowId xmlns:a16="http://schemas.microsoft.com/office/drawing/2014/main" val="4292982655"/>
                  </a:ext>
                </a:extLst>
              </a:tr>
              <a:tr h="321544">
                <a:tc>
                  <a:txBody>
                    <a:bodyPr/>
                    <a:lstStyle/>
                    <a:p>
                      <a:endParaRPr lang="en-GB" sz="1200" b="1"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46901403"/>
                  </a:ext>
                </a:extLst>
              </a:tr>
              <a:tr h="321544">
                <a:tc>
                  <a:txBody>
                    <a:bodyPr/>
                    <a:lstStyle/>
                    <a:p>
                      <a:r>
                        <a:rPr lang="en-GB" sz="1200" b="1" dirty="0"/>
                        <a:t>Brand shares in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086604594"/>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A</a:t>
                      </a:r>
                    </a:p>
                  </a:txBody>
                  <a:tcPr>
                    <a:solidFill>
                      <a:schemeClr val="bg1">
                        <a:lumMod val="95000"/>
                      </a:schemeClr>
                    </a:solidFill>
                  </a:tcPr>
                </a:tc>
                <a:tc>
                  <a:txBody>
                    <a:bodyPr/>
                    <a:lstStyle/>
                    <a:p>
                      <a:r>
                        <a:rPr lang="en-GB" sz="1200" dirty="0"/>
                        <a:t>23%</a:t>
                      </a:r>
                    </a:p>
                  </a:txBody>
                  <a:tcPr>
                    <a:solidFill>
                      <a:schemeClr val="bg1">
                        <a:lumMod val="95000"/>
                      </a:schemeClr>
                    </a:solidFill>
                  </a:tcPr>
                </a:tc>
                <a:tc>
                  <a:txBody>
                    <a:bodyPr/>
                    <a:lstStyle/>
                    <a:p>
                      <a:r>
                        <a:rPr lang="en-GB" sz="1200" dirty="0"/>
                        <a:t>25%</a:t>
                      </a:r>
                    </a:p>
                  </a:txBody>
                  <a:tcPr>
                    <a:solidFill>
                      <a:schemeClr val="bg1">
                        <a:lumMod val="95000"/>
                      </a:schemeClr>
                    </a:solidFill>
                  </a:tcPr>
                </a:tc>
                <a:tc>
                  <a:txBody>
                    <a:bodyPr/>
                    <a:lstStyle/>
                    <a:p>
                      <a:r>
                        <a:rPr lang="en-GB" sz="1200" dirty="0"/>
                        <a:t>27%</a:t>
                      </a:r>
                    </a:p>
                  </a:txBody>
                  <a:tcPr>
                    <a:solidFill>
                      <a:schemeClr val="bg1">
                        <a:lumMod val="95000"/>
                      </a:schemeClr>
                    </a:solidFill>
                  </a:tcPr>
                </a:tc>
                <a:extLst>
                  <a:ext uri="{0D108BD9-81ED-4DB2-BD59-A6C34878D82A}">
                    <a16:rowId xmlns:a16="http://schemas.microsoft.com/office/drawing/2014/main" val="1942931181"/>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B</a:t>
                      </a:r>
                    </a:p>
                  </a:txBody>
                  <a:tcPr>
                    <a:solidFill>
                      <a:schemeClr val="bg1">
                        <a:lumMod val="95000"/>
                      </a:schemeClr>
                    </a:solidFill>
                  </a:tcPr>
                </a:tc>
                <a:tc>
                  <a:txBody>
                    <a:bodyPr/>
                    <a:lstStyle/>
                    <a:p>
                      <a:r>
                        <a:rPr lang="en-GB" sz="1200" dirty="0"/>
                        <a:t>19%</a:t>
                      </a:r>
                    </a:p>
                  </a:txBody>
                  <a:tcPr>
                    <a:solidFill>
                      <a:schemeClr val="bg1">
                        <a:lumMod val="95000"/>
                      </a:schemeClr>
                    </a:solidFill>
                  </a:tcPr>
                </a:tc>
                <a:tc>
                  <a:txBody>
                    <a:bodyPr/>
                    <a:lstStyle/>
                    <a:p>
                      <a:r>
                        <a:rPr lang="en-GB" sz="1200" dirty="0"/>
                        <a:t>20%</a:t>
                      </a:r>
                    </a:p>
                  </a:txBody>
                  <a:tcPr>
                    <a:solidFill>
                      <a:schemeClr val="bg1">
                        <a:lumMod val="95000"/>
                      </a:schemeClr>
                    </a:solidFill>
                  </a:tcPr>
                </a:tc>
                <a:tc>
                  <a:txBody>
                    <a:bodyPr/>
                    <a:lstStyle/>
                    <a:p>
                      <a:r>
                        <a:rPr lang="en-GB" sz="1200" dirty="0"/>
                        <a:t>18%</a:t>
                      </a:r>
                    </a:p>
                  </a:txBody>
                  <a:tcPr>
                    <a:solidFill>
                      <a:schemeClr val="bg1">
                        <a:lumMod val="95000"/>
                      </a:schemeClr>
                    </a:solidFill>
                  </a:tcPr>
                </a:tc>
                <a:extLst>
                  <a:ext uri="{0D108BD9-81ED-4DB2-BD59-A6C34878D82A}">
                    <a16:rowId xmlns:a16="http://schemas.microsoft.com/office/drawing/2014/main" val="2490979866"/>
                  </a:ext>
                </a:extLst>
              </a:tr>
              <a:tr h="32154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t>Brand C </a:t>
                      </a:r>
                    </a:p>
                  </a:txBody>
                  <a:tcPr>
                    <a:solidFill>
                      <a:schemeClr val="bg1">
                        <a:lumMod val="95000"/>
                      </a:schemeClr>
                    </a:solidFill>
                  </a:tcPr>
                </a:tc>
                <a:tc>
                  <a:txBody>
                    <a:bodyPr/>
                    <a:lstStyle/>
                    <a:p>
                      <a:r>
                        <a:rPr lang="en-GB" sz="1200" dirty="0"/>
                        <a:t>16%</a:t>
                      </a:r>
                    </a:p>
                  </a:txBody>
                  <a:tcPr>
                    <a:solidFill>
                      <a:schemeClr val="bg1">
                        <a:lumMod val="95000"/>
                      </a:schemeClr>
                    </a:solidFill>
                  </a:tcPr>
                </a:tc>
                <a:tc>
                  <a:txBody>
                    <a:bodyPr/>
                    <a:lstStyle/>
                    <a:p>
                      <a:r>
                        <a:rPr lang="en-GB" sz="1200" dirty="0"/>
                        <a:t>17%</a:t>
                      </a:r>
                    </a:p>
                  </a:txBody>
                  <a:tcPr>
                    <a:solidFill>
                      <a:schemeClr val="bg1">
                        <a:lumMod val="95000"/>
                      </a:schemeClr>
                    </a:solidFill>
                  </a:tcPr>
                </a:tc>
                <a:tc>
                  <a:txBody>
                    <a:bodyPr/>
                    <a:lstStyle/>
                    <a:p>
                      <a:r>
                        <a:rPr lang="en-GB" sz="1200" dirty="0"/>
                        <a:t>17%</a:t>
                      </a:r>
                    </a:p>
                  </a:txBody>
                  <a:tcPr>
                    <a:solidFill>
                      <a:schemeClr val="bg1">
                        <a:lumMod val="95000"/>
                      </a:schemeClr>
                    </a:solidFill>
                  </a:tcPr>
                </a:tc>
                <a:extLst>
                  <a:ext uri="{0D108BD9-81ED-4DB2-BD59-A6C34878D82A}">
                    <a16:rowId xmlns:a16="http://schemas.microsoft.com/office/drawing/2014/main" val="1452815385"/>
                  </a:ext>
                </a:extLst>
              </a:tr>
            </a:tbl>
          </a:graphicData>
        </a:graphic>
      </p:graphicFrame>
      <p:sp>
        <p:nvSpPr>
          <p:cNvPr id="7" name="Rectangle 6">
            <a:extLst>
              <a:ext uri="{FF2B5EF4-FFF2-40B4-BE49-F238E27FC236}">
                <a16:creationId xmlns:a16="http://schemas.microsoft.com/office/drawing/2014/main" id="{E7054A66-440C-8443-512A-362F471E1719}"/>
              </a:ext>
            </a:extLst>
          </p:cNvPr>
          <p:cNvSpPr/>
          <p:nvPr/>
        </p:nvSpPr>
        <p:spPr>
          <a:xfrm>
            <a:off x="5283760" y="4882746"/>
            <a:ext cx="5701071" cy="290833"/>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The data above is mainly pertinent to Trade marketing requirements as a basic</a:t>
            </a:r>
          </a:p>
        </p:txBody>
      </p:sp>
    </p:spTree>
    <p:extLst>
      <p:ext uri="{BB962C8B-B14F-4D97-AF65-F5344CB8AC3E}">
        <p14:creationId xmlns:p14="http://schemas.microsoft.com/office/powerpoint/2010/main" val="3670619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93DAC30-365D-2AA0-86B1-81B499F77B92}"/>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Key Opportunities identified </a:t>
            </a:r>
          </a:p>
        </p:txBody>
      </p:sp>
      <p:pic>
        <p:nvPicPr>
          <p:cNvPr id="4" name="Picture 3" descr="Logo&#10;&#10;Description automatically generated">
            <a:extLst>
              <a:ext uri="{FF2B5EF4-FFF2-40B4-BE49-F238E27FC236}">
                <a16:creationId xmlns:a16="http://schemas.microsoft.com/office/drawing/2014/main" id="{D942C356-FACC-0CBC-7272-3911F653FA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7EA9C3A5-CBB4-9CBA-294C-E4383FE3ABDF}"/>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6" name="Table 5">
            <a:extLst>
              <a:ext uri="{FF2B5EF4-FFF2-40B4-BE49-F238E27FC236}">
                <a16:creationId xmlns:a16="http://schemas.microsoft.com/office/drawing/2014/main" id="{CE688429-C1A8-1E8A-E7C7-8A7BC0F38E49}"/>
              </a:ext>
            </a:extLst>
          </p:cNvPr>
          <p:cNvGraphicFramePr>
            <a:graphicFrameLocks noGrp="1"/>
          </p:cNvGraphicFramePr>
          <p:nvPr>
            <p:extLst>
              <p:ext uri="{D42A27DB-BD31-4B8C-83A1-F6EECF244321}">
                <p14:modId xmlns:p14="http://schemas.microsoft.com/office/powerpoint/2010/main" val="4060127526"/>
              </p:ext>
            </p:extLst>
          </p:nvPr>
        </p:nvGraphicFramePr>
        <p:xfrm>
          <a:off x="1216106" y="939233"/>
          <a:ext cx="10251591" cy="5041966"/>
        </p:xfrm>
        <a:graphic>
          <a:graphicData uri="http://schemas.openxmlformats.org/drawingml/2006/table">
            <a:tbl>
              <a:tblPr firstRow="1" bandRow="1">
                <a:tableStyleId>{5C22544A-7EE6-4342-B048-85BDC9FD1C3A}</a:tableStyleId>
              </a:tblPr>
              <a:tblGrid>
                <a:gridCol w="2747204">
                  <a:extLst>
                    <a:ext uri="{9D8B030D-6E8A-4147-A177-3AD203B41FA5}">
                      <a16:colId xmlns:a16="http://schemas.microsoft.com/office/drawing/2014/main" val="1207560090"/>
                    </a:ext>
                  </a:extLst>
                </a:gridCol>
                <a:gridCol w="1697751">
                  <a:extLst>
                    <a:ext uri="{9D8B030D-6E8A-4147-A177-3AD203B41FA5}">
                      <a16:colId xmlns:a16="http://schemas.microsoft.com/office/drawing/2014/main" val="4118078510"/>
                    </a:ext>
                  </a:extLst>
                </a:gridCol>
                <a:gridCol w="1859622">
                  <a:extLst>
                    <a:ext uri="{9D8B030D-6E8A-4147-A177-3AD203B41FA5}">
                      <a16:colId xmlns:a16="http://schemas.microsoft.com/office/drawing/2014/main" val="2559892957"/>
                    </a:ext>
                  </a:extLst>
                </a:gridCol>
                <a:gridCol w="1973507">
                  <a:extLst>
                    <a:ext uri="{9D8B030D-6E8A-4147-A177-3AD203B41FA5}">
                      <a16:colId xmlns:a16="http://schemas.microsoft.com/office/drawing/2014/main" val="364046904"/>
                    </a:ext>
                  </a:extLst>
                </a:gridCol>
                <a:gridCol w="1973507">
                  <a:extLst>
                    <a:ext uri="{9D8B030D-6E8A-4147-A177-3AD203B41FA5}">
                      <a16:colId xmlns:a16="http://schemas.microsoft.com/office/drawing/2014/main" val="2006399868"/>
                    </a:ext>
                  </a:extLst>
                </a:gridCol>
              </a:tblGrid>
              <a:tr h="363136">
                <a:tc>
                  <a:txBody>
                    <a:bodyPr/>
                    <a:lstStyle/>
                    <a:p>
                      <a:r>
                        <a:rPr lang="en-GB" sz="1600" dirty="0"/>
                        <a:t>Business</a:t>
                      </a:r>
                    </a:p>
                  </a:txBody>
                  <a:tcPr/>
                </a:tc>
                <a:tc>
                  <a:txBody>
                    <a:bodyPr/>
                    <a:lstStyle/>
                    <a:p>
                      <a:pPr algn="ctr"/>
                      <a:r>
                        <a:rPr lang="en-GB" sz="1600" dirty="0"/>
                        <a:t>Brand </a:t>
                      </a:r>
                    </a:p>
                  </a:txBody>
                  <a:tcPr/>
                </a:tc>
                <a:tc>
                  <a:txBody>
                    <a:bodyPr/>
                    <a:lstStyle/>
                    <a:p>
                      <a:pPr algn="ctr"/>
                      <a:r>
                        <a:rPr lang="en-GB" sz="1600" dirty="0"/>
                        <a:t>Channel </a:t>
                      </a:r>
                    </a:p>
                  </a:txBody>
                  <a:tcPr/>
                </a:tc>
                <a:tc>
                  <a:txBody>
                    <a:bodyPr/>
                    <a:lstStyle/>
                    <a:p>
                      <a:pPr algn="ctr"/>
                      <a:r>
                        <a:rPr lang="en-GB" sz="1600" dirty="0"/>
                        <a:t>Category </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t>Customer </a:t>
                      </a:r>
                    </a:p>
                  </a:txBody>
                  <a:tcPr/>
                </a:tc>
                <a:extLst>
                  <a:ext uri="{0D108BD9-81ED-4DB2-BD59-A6C34878D82A}">
                    <a16:rowId xmlns:a16="http://schemas.microsoft.com/office/drawing/2014/main" val="81982691"/>
                  </a:ext>
                </a:extLst>
              </a:tr>
              <a:tr h="272352">
                <a:tc>
                  <a:txBody>
                    <a:bodyPr/>
                    <a:lstStyle/>
                    <a:p>
                      <a:pPr algn="l"/>
                      <a:r>
                        <a:rPr lang="en-GB" sz="1000" b="1" dirty="0"/>
                        <a:t>Brand Share</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385497981"/>
                  </a:ext>
                </a:extLst>
              </a:tr>
              <a:tr h="293634">
                <a:tc>
                  <a:txBody>
                    <a:bodyPr/>
                    <a:lstStyle/>
                    <a:p>
                      <a:pPr algn="l"/>
                      <a:r>
                        <a:rPr lang="en-GB" sz="1000" b="1" dirty="0"/>
                        <a:t>Distribution Gap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28912356"/>
                  </a:ext>
                </a:extLst>
              </a:tr>
              <a:tr h="293634">
                <a:tc>
                  <a:txBody>
                    <a:bodyPr/>
                    <a:lstStyle/>
                    <a:p>
                      <a:pPr algn="l"/>
                      <a:r>
                        <a:rPr lang="en-GB" sz="1000" b="1" dirty="0"/>
                        <a:t>Pricing</a:t>
                      </a: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612073081"/>
                  </a:ext>
                </a:extLst>
              </a:tr>
              <a:tr h="293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t>Volume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2202087105"/>
                  </a:ext>
                </a:extLst>
              </a:tr>
              <a:tr h="293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t>Store Branding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871715920"/>
                  </a:ext>
                </a:extLst>
              </a:tr>
              <a:tr h="293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t>Category Branding</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571825475"/>
                  </a:ext>
                </a:extLst>
              </a:tr>
              <a:tr h="293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t>POS Placement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18123027"/>
                  </a:ext>
                </a:extLst>
              </a:tr>
              <a:tr h="293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t>Check out placement </a:t>
                      </a: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387940043"/>
                  </a:ext>
                </a:extLst>
              </a:tr>
              <a:tr h="293634">
                <a:tc>
                  <a:txBody>
                    <a:bodyPr/>
                    <a:lstStyle/>
                    <a:p>
                      <a:pPr algn="l"/>
                      <a:r>
                        <a:rPr lang="en-GB" sz="1000" b="1" dirty="0"/>
                        <a:t>Shelf Share</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52720991"/>
                  </a:ext>
                </a:extLst>
              </a:tr>
              <a:tr h="293634">
                <a:tc>
                  <a:txBody>
                    <a:bodyPr/>
                    <a:lstStyle/>
                    <a:p>
                      <a:pPr algn="l"/>
                      <a:r>
                        <a:rPr lang="en-GB" sz="1000" b="1" dirty="0"/>
                        <a:t>Category relaying</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3338590621"/>
                  </a:ext>
                </a:extLst>
              </a:tr>
              <a:tr h="293634">
                <a:tc>
                  <a:txBody>
                    <a:bodyPr/>
                    <a:lstStyle/>
                    <a:p>
                      <a:pPr algn="l"/>
                      <a:r>
                        <a:rPr lang="en-GB" sz="1000" b="1" dirty="0"/>
                        <a:t>Branding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92982655"/>
                  </a:ext>
                </a:extLst>
              </a:tr>
              <a:tr h="293634">
                <a:tc>
                  <a:txBody>
                    <a:bodyPr/>
                    <a:lstStyle/>
                    <a:p>
                      <a:pPr algn="l"/>
                      <a:r>
                        <a:rPr lang="en-GB" sz="1000" b="1" dirty="0"/>
                        <a:t>Communication engagement</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46901403"/>
                  </a:ext>
                </a:extLst>
              </a:tr>
              <a:tr h="293634">
                <a:tc>
                  <a:txBody>
                    <a:bodyPr/>
                    <a:lstStyle/>
                    <a:p>
                      <a:pPr algn="l"/>
                      <a:r>
                        <a:rPr lang="en-GB" sz="1000" b="1" dirty="0"/>
                        <a:t>Consumer Promotion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086604594"/>
                  </a:ext>
                </a:extLst>
              </a:tr>
              <a:tr h="293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t>Trade Promotions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942931181"/>
                  </a:ext>
                </a:extLst>
              </a:tr>
              <a:tr h="293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t>Sampling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90979866"/>
                  </a:ext>
                </a:extLst>
              </a:tr>
              <a:tr h="2936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t>Direct Mail </a:t>
                      </a:r>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452815385"/>
                  </a:ext>
                </a:extLst>
              </a:tr>
            </a:tbl>
          </a:graphicData>
        </a:graphic>
      </p:graphicFrame>
      <p:sp>
        <p:nvSpPr>
          <p:cNvPr id="2" name="TextBox 1">
            <a:extLst>
              <a:ext uri="{FF2B5EF4-FFF2-40B4-BE49-F238E27FC236}">
                <a16:creationId xmlns:a16="http://schemas.microsoft.com/office/drawing/2014/main" id="{3A0EF831-E53E-E795-507D-5BEF31F2187A}"/>
              </a:ext>
            </a:extLst>
          </p:cNvPr>
          <p:cNvSpPr txBox="1"/>
          <p:nvPr/>
        </p:nvSpPr>
        <p:spPr>
          <a:xfrm>
            <a:off x="1308847" y="6087035"/>
            <a:ext cx="10219765" cy="461665"/>
          </a:xfrm>
          <a:prstGeom prst="rect">
            <a:avLst/>
          </a:prstGeom>
          <a:solidFill>
            <a:schemeClr val="accent5">
              <a:lumMod val="40000"/>
              <a:lumOff val="60000"/>
            </a:schemeClr>
          </a:solidFill>
        </p:spPr>
        <p:txBody>
          <a:bodyPr wrap="square" rtlCol="0">
            <a:spAutoFit/>
          </a:bodyPr>
          <a:lstStyle/>
          <a:p>
            <a:r>
              <a:rPr lang="en-GB" sz="800" b="1" dirty="0"/>
              <a:t>Guiding comments </a:t>
            </a:r>
            <a:r>
              <a:rPr lang="en-GB" sz="800" dirty="0"/>
              <a:t>:  </a:t>
            </a:r>
          </a:p>
          <a:p>
            <a:r>
              <a:rPr lang="en-GB" sz="800" i="1" dirty="0"/>
              <a:t>Opportunities can be identified from any of the 4 vertical columns , the idea is to widen the possible areas for later selection </a:t>
            </a:r>
          </a:p>
          <a:p>
            <a:r>
              <a:rPr lang="en-GB" sz="800" i="1" dirty="0"/>
              <a:t>Add comments here that will provide a high-level support to your key opportunities not otherwise covered in the data above for high level engagement </a:t>
            </a:r>
          </a:p>
        </p:txBody>
      </p:sp>
    </p:spTree>
    <p:extLst>
      <p:ext uri="{BB962C8B-B14F-4D97-AF65-F5344CB8AC3E}">
        <p14:creationId xmlns:p14="http://schemas.microsoft.com/office/powerpoint/2010/main" val="14977186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923C712-8031-85AA-038E-542F90629807}"/>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ority Categories &amp; Brands  </a:t>
            </a:r>
          </a:p>
        </p:txBody>
      </p:sp>
      <p:pic>
        <p:nvPicPr>
          <p:cNvPr id="4" name="Picture 3" descr="Logo&#10;&#10;Description automatically generated">
            <a:extLst>
              <a:ext uri="{FF2B5EF4-FFF2-40B4-BE49-F238E27FC236}">
                <a16:creationId xmlns:a16="http://schemas.microsoft.com/office/drawing/2014/main" id="{B5538767-7AF6-FAB4-F176-2CF4196E64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83B6777B-1426-7B0D-3F67-848E0A9026EF}"/>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6" name="Table 5">
            <a:extLst>
              <a:ext uri="{FF2B5EF4-FFF2-40B4-BE49-F238E27FC236}">
                <a16:creationId xmlns:a16="http://schemas.microsoft.com/office/drawing/2014/main" id="{13E82A81-41DB-3DFD-7AA9-A63B94CF7EA4}"/>
              </a:ext>
            </a:extLst>
          </p:cNvPr>
          <p:cNvGraphicFramePr>
            <a:graphicFrameLocks noGrp="1"/>
          </p:cNvGraphicFramePr>
          <p:nvPr>
            <p:extLst>
              <p:ext uri="{D42A27DB-BD31-4B8C-83A1-F6EECF244321}">
                <p14:modId xmlns:p14="http://schemas.microsoft.com/office/powerpoint/2010/main" val="1616102185"/>
              </p:ext>
            </p:extLst>
          </p:nvPr>
        </p:nvGraphicFramePr>
        <p:xfrm>
          <a:off x="1126459" y="948198"/>
          <a:ext cx="10075193" cy="5004005"/>
        </p:xfrm>
        <a:graphic>
          <a:graphicData uri="http://schemas.openxmlformats.org/drawingml/2006/table">
            <a:tbl>
              <a:tblPr firstRow="1" bandRow="1">
                <a:tableStyleId>{5C22544A-7EE6-4342-B048-85BDC9FD1C3A}</a:tableStyleId>
              </a:tblPr>
              <a:tblGrid>
                <a:gridCol w="2122995">
                  <a:extLst>
                    <a:ext uri="{9D8B030D-6E8A-4147-A177-3AD203B41FA5}">
                      <a16:colId xmlns:a16="http://schemas.microsoft.com/office/drawing/2014/main" val="1207560090"/>
                    </a:ext>
                  </a:extLst>
                </a:gridCol>
                <a:gridCol w="1797978">
                  <a:extLst>
                    <a:ext uri="{9D8B030D-6E8A-4147-A177-3AD203B41FA5}">
                      <a16:colId xmlns:a16="http://schemas.microsoft.com/office/drawing/2014/main" val="4118078510"/>
                    </a:ext>
                  </a:extLst>
                </a:gridCol>
                <a:gridCol w="6154220">
                  <a:extLst>
                    <a:ext uri="{9D8B030D-6E8A-4147-A177-3AD203B41FA5}">
                      <a16:colId xmlns:a16="http://schemas.microsoft.com/office/drawing/2014/main" val="3939790868"/>
                    </a:ext>
                  </a:extLst>
                </a:gridCol>
              </a:tblGrid>
              <a:tr h="368202">
                <a:tc>
                  <a:txBody>
                    <a:bodyPr/>
                    <a:lstStyle/>
                    <a:p>
                      <a:r>
                        <a:rPr lang="en-GB" dirty="0"/>
                        <a:t>Priorities </a:t>
                      </a:r>
                    </a:p>
                  </a:txBody>
                  <a:tcPr/>
                </a:tc>
                <a:tc>
                  <a:txBody>
                    <a:bodyPr/>
                    <a:lstStyle/>
                    <a:p>
                      <a:pPr algn="ctr"/>
                      <a:r>
                        <a:rPr lang="en-GB" dirty="0"/>
                        <a:t>Priority Level  </a:t>
                      </a:r>
                    </a:p>
                  </a:txBody>
                  <a:tcPr/>
                </a:tc>
                <a:tc>
                  <a:txBody>
                    <a:bodyPr/>
                    <a:lstStyle/>
                    <a:p>
                      <a:pPr algn="ctr"/>
                      <a:r>
                        <a:rPr lang="en-GB" dirty="0"/>
                        <a:t>Comments </a:t>
                      </a:r>
                    </a:p>
                  </a:txBody>
                  <a:tcPr/>
                </a:tc>
                <a:extLst>
                  <a:ext uri="{0D108BD9-81ED-4DB2-BD59-A6C34878D82A}">
                    <a16:rowId xmlns:a16="http://schemas.microsoft.com/office/drawing/2014/main" val="81982691"/>
                  </a:ext>
                </a:extLst>
              </a:tr>
              <a:tr h="287109">
                <a:tc>
                  <a:txBody>
                    <a:bodyPr/>
                    <a:lstStyle/>
                    <a:p>
                      <a:pPr algn="l"/>
                      <a:r>
                        <a:rPr lang="en-GB" sz="1000" b="1" dirty="0"/>
                        <a:t>Brand </a:t>
                      </a:r>
                    </a:p>
                  </a:txBody>
                  <a:tcPr>
                    <a:solidFill>
                      <a:schemeClr val="bg1">
                        <a:lumMod val="95000"/>
                      </a:schemeClr>
                    </a:solidFill>
                  </a:tcPr>
                </a:tc>
                <a:tc>
                  <a:txBody>
                    <a:bodyPr/>
                    <a:lstStyle/>
                    <a:p>
                      <a:pPr algn="l"/>
                      <a:endParaRPr lang="en-GB" sz="10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385497981"/>
                  </a:ext>
                </a:extLst>
              </a:tr>
              <a:tr h="310621">
                <a:tc>
                  <a:txBody>
                    <a:bodyPr/>
                    <a:lstStyle/>
                    <a:p>
                      <a:pPr algn="r"/>
                      <a:r>
                        <a:rPr lang="en-GB" sz="1000" b="1" dirty="0"/>
                        <a:t>Brand A</a:t>
                      </a:r>
                    </a:p>
                  </a:txBody>
                  <a:tcPr>
                    <a:solidFill>
                      <a:schemeClr val="bg1">
                        <a:lumMod val="95000"/>
                      </a:schemeClr>
                    </a:solidFill>
                  </a:tcPr>
                </a:tc>
                <a:tc>
                  <a:txBody>
                    <a:bodyPr/>
                    <a:lstStyle/>
                    <a:p>
                      <a:pPr algn="l"/>
                      <a:r>
                        <a:rPr lang="en-GB" sz="1000" dirty="0">
                          <a:solidFill>
                            <a:schemeClr val="bg1"/>
                          </a:solidFill>
                        </a:rPr>
                        <a:t>Drive Brand </a:t>
                      </a:r>
                    </a:p>
                  </a:txBody>
                  <a:tcPr>
                    <a:solidFill>
                      <a:schemeClr val="accent6"/>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28912356"/>
                  </a:ext>
                </a:extLst>
              </a:tr>
              <a:tr h="310621">
                <a:tc>
                  <a:txBody>
                    <a:bodyPr/>
                    <a:lstStyle/>
                    <a:p>
                      <a:pPr algn="r"/>
                      <a:r>
                        <a:rPr lang="en-GB" sz="1000" b="1" dirty="0"/>
                        <a:t>Brand B </a:t>
                      </a:r>
                    </a:p>
                  </a:txBody>
                  <a:tcPr>
                    <a:solidFill>
                      <a:schemeClr val="bg1">
                        <a:lumMod val="95000"/>
                      </a:schemeClr>
                    </a:solidFill>
                  </a:tcPr>
                </a:tc>
                <a:tc>
                  <a:txBody>
                    <a:bodyPr/>
                    <a:lstStyle/>
                    <a:p>
                      <a:pPr marL="0" algn="l" defTabSz="914400" rtl="0" eaLnBrk="1" latinLnBrk="0" hangingPunct="1"/>
                      <a:r>
                        <a:rPr lang="en-GB" sz="1000" kern="1200" dirty="0">
                          <a:solidFill>
                            <a:schemeClr val="dk1"/>
                          </a:solidFill>
                          <a:latin typeface="+mn-lt"/>
                          <a:ea typeface="+mn-ea"/>
                          <a:cs typeface="+mn-cs"/>
                        </a:rPr>
                        <a:t>Support Brand </a:t>
                      </a:r>
                    </a:p>
                  </a:txBody>
                  <a:tcPr>
                    <a:solidFill>
                      <a:schemeClr val="accent3"/>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612073081"/>
                  </a:ext>
                </a:extLst>
              </a:tr>
              <a:tr h="31062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000" b="1" dirty="0"/>
                        <a:t>Brand C</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dk1"/>
                          </a:solidFill>
                          <a:latin typeface="+mn-lt"/>
                          <a:ea typeface="+mn-ea"/>
                          <a:cs typeface="+mn-cs"/>
                        </a:rPr>
                        <a:t>Maintain Brand </a:t>
                      </a:r>
                    </a:p>
                  </a:txBody>
                  <a:tcP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2202087105"/>
                  </a:ext>
                </a:extLst>
              </a:tr>
              <a:tr h="31062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000" b="1" dirty="0"/>
                        <a:t>Brand D</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dk1"/>
                          </a:solidFill>
                          <a:latin typeface="+mn-lt"/>
                          <a:ea typeface="+mn-ea"/>
                          <a:cs typeface="+mn-cs"/>
                        </a:rPr>
                        <a:t>Maintain Brand </a:t>
                      </a:r>
                    </a:p>
                  </a:txBody>
                  <a:tcP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871715920"/>
                  </a:ext>
                </a:extLst>
              </a:tr>
              <a:tr h="3106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t>Segment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dk1"/>
                        </a:solidFill>
                        <a:latin typeface="+mn-lt"/>
                        <a:ea typeface="+mn-ea"/>
                        <a:cs typeface="+mn-cs"/>
                      </a:endParaRP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571825475"/>
                  </a:ext>
                </a:extLst>
              </a:tr>
              <a:tr h="31062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000" b="1" dirty="0"/>
                        <a:t>Segment A</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dk1"/>
                          </a:solidFill>
                          <a:latin typeface="+mn-lt"/>
                          <a:ea typeface="+mn-ea"/>
                          <a:cs typeface="+mn-cs"/>
                        </a:rPr>
                        <a:t>Expand Segment </a:t>
                      </a:r>
                    </a:p>
                  </a:txBody>
                  <a:tcPr>
                    <a:solidFill>
                      <a:schemeClr val="accent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18123027"/>
                  </a:ext>
                </a:extLst>
              </a:tr>
              <a:tr h="31062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000" b="1" dirty="0"/>
                        <a:t>Segment B</a:t>
                      </a:r>
                    </a:p>
                  </a:txBody>
                  <a:tcPr>
                    <a:solidFill>
                      <a:schemeClr val="bg1">
                        <a:lumMod val="95000"/>
                      </a:schemeClr>
                    </a:solidFill>
                  </a:tcPr>
                </a:tc>
                <a:tc>
                  <a:txBody>
                    <a:bodyPr/>
                    <a:lstStyle/>
                    <a:p>
                      <a:pPr marL="0" algn="l" defTabSz="914400" rtl="0" eaLnBrk="1" latinLnBrk="0" hangingPunct="1"/>
                      <a:r>
                        <a:rPr lang="en-GB" sz="1000" kern="1200" dirty="0">
                          <a:solidFill>
                            <a:schemeClr val="dk1"/>
                          </a:solidFill>
                          <a:latin typeface="+mn-lt"/>
                          <a:ea typeface="+mn-ea"/>
                          <a:cs typeface="+mn-cs"/>
                        </a:rPr>
                        <a:t>Consolidate Segment </a:t>
                      </a:r>
                    </a:p>
                  </a:txBody>
                  <a:tcPr>
                    <a:solidFill>
                      <a:schemeClr val="accent3"/>
                    </a:solidFill>
                  </a:tcPr>
                </a:tc>
                <a:tc>
                  <a:txBody>
                    <a:bodyPr/>
                    <a:lstStyle/>
                    <a:p>
                      <a:pPr marL="0" algn="l" defTabSz="914400" rtl="0" eaLnBrk="1" latinLnBrk="0" hangingPunct="1"/>
                      <a:endParaRPr lang="en-GB" sz="12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387940043"/>
                  </a:ext>
                </a:extLst>
              </a:tr>
              <a:tr h="310621">
                <a:tc>
                  <a:txBody>
                    <a:bodyPr/>
                    <a:lstStyle/>
                    <a:p>
                      <a:pPr algn="r"/>
                      <a:r>
                        <a:rPr lang="en-GB" sz="1000" b="1" dirty="0"/>
                        <a:t>Segment C</a:t>
                      </a:r>
                    </a:p>
                  </a:txBody>
                  <a:tcPr>
                    <a:solidFill>
                      <a:schemeClr val="bg1">
                        <a:lumMod val="95000"/>
                      </a:schemeClr>
                    </a:solidFill>
                  </a:tcPr>
                </a:tc>
                <a:tc>
                  <a:txBody>
                    <a:bodyPr/>
                    <a:lstStyle/>
                    <a:p>
                      <a:pPr algn="l"/>
                      <a:r>
                        <a:rPr lang="en-GB" sz="1000" dirty="0"/>
                        <a:t>Maintain Segment </a:t>
                      </a:r>
                    </a:p>
                  </a:txBody>
                  <a:tcPr>
                    <a:solidFill>
                      <a:schemeClr val="accent2"/>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52720991"/>
                  </a:ext>
                </a:extLst>
              </a:tr>
              <a:tr h="31062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000" b="1" dirty="0"/>
                        <a:t>Segment D </a:t>
                      </a:r>
                    </a:p>
                  </a:txBody>
                  <a:tcPr>
                    <a:solidFill>
                      <a:schemeClr val="bg1">
                        <a:lumMod val="95000"/>
                      </a:schemeClr>
                    </a:solidFill>
                  </a:tcPr>
                </a:tc>
                <a:tc>
                  <a:txBody>
                    <a:bodyPr/>
                    <a:lstStyle/>
                    <a:p>
                      <a:pPr algn="l"/>
                      <a:r>
                        <a:rPr lang="en-GB" sz="1000" dirty="0"/>
                        <a:t>Maintain Segment </a:t>
                      </a:r>
                    </a:p>
                  </a:txBody>
                  <a:tcPr>
                    <a:solidFill>
                      <a:schemeClr val="accent2"/>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3338590621"/>
                  </a:ext>
                </a:extLst>
              </a:tr>
              <a:tr h="310621">
                <a:tc>
                  <a:txBody>
                    <a:bodyPr/>
                    <a:lstStyle/>
                    <a:p>
                      <a:pPr algn="l"/>
                      <a:r>
                        <a:rPr lang="en-GB" sz="1000" b="1" dirty="0"/>
                        <a:t>Categories</a:t>
                      </a:r>
                    </a:p>
                  </a:txBody>
                  <a:tcPr>
                    <a:solidFill>
                      <a:schemeClr val="bg1">
                        <a:lumMod val="95000"/>
                      </a:schemeClr>
                    </a:solidFill>
                  </a:tcPr>
                </a:tc>
                <a:tc>
                  <a:txBody>
                    <a:bodyPr/>
                    <a:lstStyle/>
                    <a:p>
                      <a:pPr algn="l"/>
                      <a:endParaRPr lang="en-GB" sz="1000" dirty="0"/>
                    </a:p>
                  </a:txBody>
                  <a:tcPr>
                    <a:solidFill>
                      <a:schemeClr val="bg1">
                        <a:lumMod val="95000"/>
                      </a:schemeClr>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92982655"/>
                  </a:ext>
                </a:extLst>
              </a:tr>
              <a:tr h="310621">
                <a:tc>
                  <a:txBody>
                    <a:bodyPr/>
                    <a:lstStyle/>
                    <a:p>
                      <a:pPr algn="r"/>
                      <a:r>
                        <a:rPr lang="en-GB" sz="1000" b="1" dirty="0"/>
                        <a:t>Category A</a:t>
                      </a:r>
                    </a:p>
                  </a:txBody>
                  <a:tcPr>
                    <a:solidFill>
                      <a:schemeClr val="bg1">
                        <a:lumMod val="95000"/>
                      </a:schemeClr>
                    </a:solidFill>
                  </a:tcPr>
                </a:tc>
                <a:tc>
                  <a:txBody>
                    <a:bodyPr/>
                    <a:lstStyle/>
                    <a:p>
                      <a:pPr algn="l"/>
                      <a:r>
                        <a:rPr lang="en-GB" sz="1000" dirty="0"/>
                        <a:t>Focus Category </a:t>
                      </a:r>
                    </a:p>
                  </a:txBody>
                  <a:tcPr>
                    <a:solidFill>
                      <a:schemeClr val="accent6"/>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4246901403"/>
                  </a:ext>
                </a:extLst>
              </a:tr>
              <a:tr h="310621">
                <a:tc>
                  <a:txBody>
                    <a:bodyPr/>
                    <a:lstStyle/>
                    <a:p>
                      <a:pPr algn="r"/>
                      <a:r>
                        <a:rPr lang="en-GB" sz="1000" b="1" dirty="0"/>
                        <a:t>Category B</a:t>
                      </a:r>
                    </a:p>
                  </a:txBody>
                  <a:tcPr>
                    <a:solidFill>
                      <a:schemeClr val="bg1">
                        <a:lumMod val="95000"/>
                      </a:schemeClr>
                    </a:solidFill>
                  </a:tcPr>
                </a:tc>
                <a:tc>
                  <a:txBody>
                    <a:bodyPr/>
                    <a:lstStyle/>
                    <a:p>
                      <a:pPr algn="l"/>
                      <a:r>
                        <a:rPr lang="en-GB" sz="1000" dirty="0"/>
                        <a:t>Focus Category </a:t>
                      </a:r>
                    </a:p>
                  </a:txBody>
                  <a:tcPr>
                    <a:solidFill>
                      <a:schemeClr val="accent6"/>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086604594"/>
                  </a:ext>
                </a:extLst>
              </a:tr>
              <a:tr h="31062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000" b="1" dirty="0"/>
                        <a:t>Category C</a:t>
                      </a:r>
                    </a:p>
                  </a:txBody>
                  <a:tcPr>
                    <a:solidFill>
                      <a:schemeClr val="bg1">
                        <a:lumMod val="95000"/>
                      </a:schemeClr>
                    </a:solidFill>
                  </a:tcPr>
                </a:tc>
                <a:tc>
                  <a:txBody>
                    <a:bodyPr/>
                    <a:lstStyle/>
                    <a:p>
                      <a:pPr algn="l"/>
                      <a:r>
                        <a:rPr lang="en-GB" sz="1000" dirty="0"/>
                        <a:t>Support Category </a:t>
                      </a:r>
                    </a:p>
                  </a:txBody>
                  <a:tcPr>
                    <a:solidFill>
                      <a:schemeClr val="accent3"/>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1942931181"/>
                  </a:ext>
                </a:extLst>
              </a:tr>
              <a:tr h="31062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000" b="1" dirty="0"/>
                        <a:t>Category D</a:t>
                      </a:r>
                    </a:p>
                  </a:txBody>
                  <a:tcPr>
                    <a:solidFill>
                      <a:schemeClr val="bg1">
                        <a:lumMod val="95000"/>
                      </a:schemeClr>
                    </a:solidFill>
                  </a:tcPr>
                </a:tc>
                <a:tc>
                  <a:txBody>
                    <a:bodyPr/>
                    <a:lstStyle/>
                    <a:p>
                      <a:pPr algn="l"/>
                      <a:r>
                        <a:rPr lang="en-GB" sz="1000" dirty="0"/>
                        <a:t>Maintain |category </a:t>
                      </a:r>
                    </a:p>
                  </a:txBody>
                  <a:tcPr>
                    <a:solidFill>
                      <a:schemeClr val="accent2"/>
                    </a:solidFill>
                  </a:tcPr>
                </a:tc>
                <a:tc>
                  <a:txBody>
                    <a:bodyPr/>
                    <a:lstStyle/>
                    <a:p>
                      <a:endParaRPr lang="en-GB" sz="1200" dirty="0"/>
                    </a:p>
                  </a:txBody>
                  <a:tcPr>
                    <a:solidFill>
                      <a:schemeClr val="bg1">
                        <a:lumMod val="95000"/>
                      </a:schemeClr>
                    </a:solidFill>
                  </a:tcPr>
                </a:tc>
                <a:extLst>
                  <a:ext uri="{0D108BD9-81ED-4DB2-BD59-A6C34878D82A}">
                    <a16:rowId xmlns:a16="http://schemas.microsoft.com/office/drawing/2014/main" val="2490979866"/>
                  </a:ext>
                </a:extLst>
              </a:tr>
            </a:tbl>
          </a:graphicData>
        </a:graphic>
      </p:graphicFrame>
      <p:sp>
        <p:nvSpPr>
          <p:cNvPr id="2" name="TextBox 1">
            <a:extLst>
              <a:ext uri="{FF2B5EF4-FFF2-40B4-BE49-F238E27FC236}">
                <a16:creationId xmlns:a16="http://schemas.microsoft.com/office/drawing/2014/main" id="{B749CC15-39D3-F54D-D2A4-79865536D518}"/>
              </a:ext>
            </a:extLst>
          </p:cNvPr>
          <p:cNvSpPr txBox="1"/>
          <p:nvPr/>
        </p:nvSpPr>
        <p:spPr>
          <a:xfrm>
            <a:off x="1308847" y="6087035"/>
            <a:ext cx="10219765" cy="215444"/>
          </a:xfrm>
          <a:prstGeom prst="rect">
            <a:avLst/>
          </a:prstGeom>
          <a:solidFill>
            <a:schemeClr val="accent5">
              <a:lumMod val="40000"/>
              <a:lumOff val="60000"/>
            </a:schemeClr>
          </a:solidFill>
        </p:spPr>
        <p:txBody>
          <a:bodyPr wrap="square" rtlCol="0">
            <a:spAutoFit/>
          </a:bodyPr>
          <a:lstStyle/>
          <a:p>
            <a:r>
              <a:rPr lang="en-GB" sz="800" b="1" dirty="0"/>
              <a:t>Guiding comments </a:t>
            </a:r>
            <a:r>
              <a:rPr lang="en-GB" sz="800" dirty="0"/>
              <a:t>:  </a:t>
            </a:r>
            <a:r>
              <a:rPr lang="en-GB" sz="800" i="1" dirty="0"/>
              <a:t>Add comments here that will provide a high-level support to your key opportunities , break them down to guide stakeholder engagement.</a:t>
            </a:r>
          </a:p>
        </p:txBody>
      </p:sp>
    </p:spTree>
    <p:extLst>
      <p:ext uri="{BB962C8B-B14F-4D97-AF65-F5344CB8AC3E}">
        <p14:creationId xmlns:p14="http://schemas.microsoft.com/office/powerpoint/2010/main" val="3331910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D792864-CCAC-691D-E85B-6D74A5809D9E}"/>
              </a:ext>
            </a:extLst>
          </p:cNvPr>
          <p:cNvSpPr txBox="1"/>
          <p:nvPr/>
        </p:nvSpPr>
        <p:spPr>
          <a:xfrm>
            <a:off x="1570003" y="2965544"/>
            <a:ext cx="591882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nalysis</a:t>
            </a:r>
          </a:p>
        </p:txBody>
      </p:sp>
      <p:graphicFrame>
        <p:nvGraphicFramePr>
          <p:cNvPr id="3" name="Table 5">
            <a:extLst>
              <a:ext uri="{FF2B5EF4-FFF2-40B4-BE49-F238E27FC236}">
                <a16:creationId xmlns:a16="http://schemas.microsoft.com/office/drawing/2014/main" id="{D6672977-34BA-87ED-B643-5CCBF0EE739F}"/>
              </a:ext>
            </a:extLst>
          </p:cNvPr>
          <p:cNvGraphicFramePr>
            <a:graphicFrameLocks noGrp="1"/>
          </p:cNvGraphicFramePr>
          <p:nvPr>
            <p:extLst>
              <p:ext uri="{D42A27DB-BD31-4B8C-83A1-F6EECF244321}">
                <p14:modId xmlns:p14="http://schemas.microsoft.com/office/powerpoint/2010/main" val="435452738"/>
              </p:ext>
            </p:extLst>
          </p:nvPr>
        </p:nvGraphicFramePr>
        <p:xfrm>
          <a:off x="7356394" y="92982"/>
          <a:ext cx="4773411" cy="6629400"/>
        </p:xfrm>
        <a:graphic>
          <a:graphicData uri="http://schemas.openxmlformats.org/drawingml/2006/table">
            <a:tbl>
              <a:tblPr firstRow="1" bandRow="1">
                <a:tableStyleId>{5C22544A-7EE6-4342-B048-85BDC9FD1C3A}</a:tableStyleId>
              </a:tblPr>
              <a:tblGrid>
                <a:gridCol w="1011451">
                  <a:extLst>
                    <a:ext uri="{9D8B030D-6E8A-4147-A177-3AD203B41FA5}">
                      <a16:colId xmlns:a16="http://schemas.microsoft.com/office/drawing/2014/main" val="250726202"/>
                    </a:ext>
                  </a:extLst>
                </a:gridCol>
                <a:gridCol w="2849646">
                  <a:extLst>
                    <a:ext uri="{9D8B030D-6E8A-4147-A177-3AD203B41FA5}">
                      <a16:colId xmlns:a16="http://schemas.microsoft.com/office/drawing/2014/main" val="2361609606"/>
                    </a:ext>
                  </a:extLst>
                </a:gridCol>
                <a:gridCol w="912314">
                  <a:extLst>
                    <a:ext uri="{9D8B030D-6E8A-4147-A177-3AD203B41FA5}">
                      <a16:colId xmlns:a16="http://schemas.microsoft.com/office/drawing/2014/main" val="4003720094"/>
                    </a:ext>
                  </a:extLst>
                </a:gridCol>
              </a:tblGrid>
              <a:tr h="215353">
                <a:tc gridSpan="2">
                  <a:txBody>
                    <a:bodyPr/>
                    <a:lstStyle/>
                    <a:p>
                      <a:r>
                        <a:rPr lang="en-GB" sz="900" dirty="0"/>
                        <a:t>Summary </a:t>
                      </a:r>
                    </a:p>
                  </a:txBody>
                  <a:tcPr>
                    <a:solidFill>
                      <a:srgbClr val="DB5000"/>
                    </a:solidFill>
                  </a:tcPr>
                </a:tc>
                <a:tc hMerge="1">
                  <a:txBody>
                    <a:bodyPr/>
                    <a:lstStyle/>
                    <a:p>
                      <a:endParaRPr lang="en-GB" dirty="0"/>
                    </a:p>
                  </a:txBody>
                  <a:tcPr>
                    <a:solidFill>
                      <a:srgbClr val="DB5000"/>
                    </a:solidFill>
                  </a:tcPr>
                </a:tc>
                <a:tc>
                  <a:txBody>
                    <a:bodyPr/>
                    <a:lstStyle/>
                    <a:p>
                      <a:r>
                        <a:rPr lang="en-GB" sz="900" dirty="0"/>
                        <a:t>Page No</a:t>
                      </a:r>
                    </a:p>
                  </a:txBody>
                  <a:tcPr>
                    <a:solidFill>
                      <a:srgbClr val="DB5000"/>
                    </a:solidFill>
                  </a:tcPr>
                </a:tc>
                <a:extLst>
                  <a:ext uri="{0D108BD9-81ED-4DB2-BD59-A6C34878D82A}">
                    <a16:rowId xmlns:a16="http://schemas.microsoft.com/office/drawing/2014/main" val="1379040451"/>
                  </a:ext>
                </a:extLst>
              </a:tr>
              <a:tr h="200061">
                <a:tc>
                  <a:txBody>
                    <a:bodyPr/>
                    <a:lstStyle/>
                    <a:p>
                      <a:r>
                        <a:rPr lang="en-GB" sz="900" b="1" dirty="0">
                          <a:solidFill>
                            <a:schemeClr val="bg1"/>
                          </a:solidFill>
                          <a:latin typeface="Lato Long"/>
                        </a:rPr>
                        <a:t>1.0</a:t>
                      </a:r>
                    </a:p>
                  </a:txBody>
                  <a:tcPr>
                    <a:solidFill>
                      <a:srgbClr val="3984A3"/>
                    </a:solidFill>
                  </a:tcPr>
                </a:tc>
                <a:tc>
                  <a:txBody>
                    <a:bodyPr/>
                    <a:lstStyle/>
                    <a:p>
                      <a:r>
                        <a:rPr lang="en-GB" sz="900" b="1" dirty="0">
                          <a:solidFill>
                            <a:schemeClr val="bg1"/>
                          </a:solidFill>
                          <a:latin typeface="Lato Long"/>
                        </a:rPr>
                        <a:t>Summary </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88537191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Corporate Objectives and Mission Statement</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142382326"/>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Market specific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30397707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ategory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43845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ustomer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9847186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hannel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9018709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Key Opportunities identified (B2B &amp; B2C)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27244981"/>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Priority Categories and Brand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56631578"/>
                  </a:ext>
                </a:extLst>
              </a:tr>
              <a:tr h="200061">
                <a:tc>
                  <a:txBody>
                    <a:bodyPr/>
                    <a:lstStyle/>
                    <a:p>
                      <a:r>
                        <a:rPr lang="en-GB" sz="900" dirty="0">
                          <a:solidFill>
                            <a:schemeClr val="bg1"/>
                          </a:solidFill>
                          <a:latin typeface="Lato Long"/>
                        </a:rPr>
                        <a:t>2.0</a:t>
                      </a:r>
                    </a:p>
                  </a:txBody>
                  <a:tcPr>
                    <a:solidFill>
                      <a:srgbClr val="3984A3"/>
                    </a:solidFill>
                  </a:tcPr>
                </a:tc>
                <a:tc>
                  <a:txBody>
                    <a:bodyPr/>
                    <a:lstStyle/>
                    <a:p>
                      <a:r>
                        <a:rPr lang="en-GB" sz="900" b="1" dirty="0">
                          <a:solidFill>
                            <a:schemeClr val="bg1"/>
                          </a:solidFill>
                          <a:latin typeface="Lato Long"/>
                        </a:rPr>
                        <a:t>Analysi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556882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Market sizing / Channel Sizing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40030120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Key Channels and Customer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6251086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petitive analysi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9047431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Opportunities and threat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191416563"/>
                  </a:ext>
                </a:extLst>
              </a:tr>
              <a:tr h="200061">
                <a:tc>
                  <a:txBody>
                    <a:bodyPr/>
                    <a:lstStyle/>
                    <a:p>
                      <a:r>
                        <a:rPr lang="en-GB" sz="900" dirty="0">
                          <a:solidFill>
                            <a:schemeClr val="bg1"/>
                          </a:solidFill>
                          <a:latin typeface="Lato Long"/>
                        </a:rPr>
                        <a:t>3.0</a:t>
                      </a:r>
                    </a:p>
                  </a:txBody>
                  <a:tcPr>
                    <a:solidFill>
                      <a:srgbClr val="3984A3"/>
                    </a:solidFill>
                  </a:tcPr>
                </a:tc>
                <a:tc>
                  <a:txBody>
                    <a:bodyPr/>
                    <a:lstStyle/>
                    <a:p>
                      <a:r>
                        <a:rPr lang="en-GB" sz="900" b="1" dirty="0">
                          <a:solidFill>
                            <a:schemeClr val="bg1"/>
                          </a:solidFill>
                          <a:latin typeface="Lato Long"/>
                        </a:rPr>
                        <a:t>Resource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5146695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Human resource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3108314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POS Resource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45114604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Investments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32402442"/>
                  </a:ext>
                </a:extLst>
              </a:tr>
              <a:tr h="200061">
                <a:tc>
                  <a:txBody>
                    <a:bodyPr/>
                    <a:lstStyle/>
                    <a:p>
                      <a:r>
                        <a:rPr lang="en-GB" sz="900" dirty="0">
                          <a:solidFill>
                            <a:schemeClr val="bg1"/>
                          </a:solidFill>
                          <a:latin typeface="Lato Long"/>
                        </a:rPr>
                        <a:t>4.0</a:t>
                      </a:r>
                    </a:p>
                  </a:txBody>
                  <a:tcPr>
                    <a:solidFill>
                      <a:srgbClr val="3984A3"/>
                    </a:solidFill>
                  </a:tcPr>
                </a:tc>
                <a:tc>
                  <a:txBody>
                    <a:bodyPr/>
                    <a:lstStyle/>
                    <a:p>
                      <a:r>
                        <a:rPr lang="en-GB" sz="900" b="1" dirty="0">
                          <a:solidFill>
                            <a:schemeClr val="bg1"/>
                          </a:solidFill>
                          <a:latin typeface="Lato Long"/>
                        </a:rPr>
                        <a:t>Tactic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01312479"/>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75000"/>
                              <a:lumOff val="25000"/>
                            </a:schemeClr>
                          </a:solidFill>
                          <a:latin typeface="Lato Long"/>
                        </a:rPr>
                        <a:t>Brands channels and tactic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6304355"/>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Branding Plans</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5008497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munication Plan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90853343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POS Plan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85700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High level tactical calendar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23390391"/>
                  </a:ext>
                </a:extLst>
              </a:tr>
              <a:tr h="200061">
                <a:tc>
                  <a:txBody>
                    <a:bodyPr/>
                    <a:lstStyle/>
                    <a:p>
                      <a:r>
                        <a:rPr lang="en-GB" sz="900" b="1" dirty="0">
                          <a:solidFill>
                            <a:schemeClr val="bg1"/>
                          </a:solidFill>
                          <a:latin typeface="Lato Long"/>
                        </a:rPr>
                        <a:t>5.0</a:t>
                      </a:r>
                    </a:p>
                  </a:txBody>
                  <a:tcPr>
                    <a:solidFill>
                      <a:schemeClr val="accent1"/>
                    </a:solidFill>
                  </a:tcPr>
                </a:tc>
                <a:tc>
                  <a:txBody>
                    <a:bodyPr/>
                    <a:lstStyle/>
                    <a:p>
                      <a:r>
                        <a:rPr lang="en-GB" sz="900" b="1" dirty="0">
                          <a:solidFill>
                            <a:schemeClr val="bg1"/>
                          </a:solidFill>
                          <a:latin typeface="Lato Long"/>
                        </a:rPr>
                        <a:t>P&amp;L</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703129503"/>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P&amp;L</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5752941"/>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Marketing ROI and Ratio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7789640"/>
                  </a:ext>
                </a:extLst>
              </a:tr>
              <a:tr h="200061">
                <a:tc>
                  <a:txBody>
                    <a:bodyPr/>
                    <a:lstStyle/>
                    <a:p>
                      <a:r>
                        <a:rPr lang="en-GB" sz="900" b="1" dirty="0">
                          <a:solidFill>
                            <a:schemeClr val="bg1"/>
                          </a:solidFill>
                          <a:latin typeface="Lato Long"/>
                        </a:rPr>
                        <a:t>6.0</a:t>
                      </a:r>
                    </a:p>
                  </a:txBody>
                  <a:tcPr>
                    <a:solidFill>
                      <a:schemeClr val="accent1"/>
                    </a:solidFill>
                  </a:tcPr>
                </a:tc>
                <a:tc>
                  <a:txBody>
                    <a:bodyPr/>
                    <a:lstStyle/>
                    <a:p>
                      <a:r>
                        <a:rPr lang="en-GB" sz="900" b="1" dirty="0">
                          <a:solidFill>
                            <a:schemeClr val="bg1"/>
                          </a:solidFill>
                          <a:latin typeface="Lato Long"/>
                        </a:rPr>
                        <a:t>Conclusions </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72979437"/>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Recommendations and Review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86498152"/>
                  </a:ext>
                </a:extLst>
              </a:tr>
            </a:tbl>
          </a:graphicData>
        </a:graphic>
      </p:graphicFrame>
    </p:spTree>
    <p:extLst>
      <p:ext uri="{BB962C8B-B14F-4D97-AF65-F5344CB8AC3E}">
        <p14:creationId xmlns:p14="http://schemas.microsoft.com/office/powerpoint/2010/main" val="2924671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tomers &amp; Users / Color Wheel">
            <a:extLst>
              <a:ext uri="{FF2B5EF4-FFF2-40B4-BE49-F238E27FC236}">
                <a16:creationId xmlns:a16="http://schemas.microsoft.com/office/drawing/2014/main" id="{235BF9F6-8FB8-4102-B600-1BA25DA75A90}"/>
              </a:ext>
            </a:extLst>
          </p:cNvPr>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398234" y="763404"/>
            <a:ext cx="2839408" cy="189104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Yellow and Black Letter T-letter Blocks">
            <a:extLst>
              <a:ext uri="{FF2B5EF4-FFF2-40B4-BE49-F238E27FC236}">
                <a16:creationId xmlns:a16="http://schemas.microsoft.com/office/drawing/2014/main" id="{B0B09F9C-79B3-4CC7-89A4-00ED763C74F9}"/>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366165" y="4319939"/>
            <a:ext cx="2911852" cy="186695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White and Yellow Dice on Green Surface">
            <a:extLst>
              <a:ext uri="{FF2B5EF4-FFF2-40B4-BE49-F238E27FC236}">
                <a16:creationId xmlns:a16="http://schemas.microsoft.com/office/drawing/2014/main" id="{05C760EA-A3E9-4BAD-93E9-60A6E1CC9921}"/>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398234" y="4319939"/>
            <a:ext cx="2850294" cy="190471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rayscale Photo of People at Market">
            <a:extLst>
              <a:ext uri="{FF2B5EF4-FFF2-40B4-BE49-F238E27FC236}">
                <a16:creationId xmlns:a16="http://schemas.microsoft.com/office/drawing/2014/main" id="{33360189-70B2-4227-B44B-51871A89BB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1904" y="754717"/>
            <a:ext cx="2911851" cy="190471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Logo&#10;&#10;Description automatically generated">
            <a:extLst>
              <a:ext uri="{FF2B5EF4-FFF2-40B4-BE49-F238E27FC236}">
                <a16:creationId xmlns:a16="http://schemas.microsoft.com/office/drawing/2014/main" id="{07D0B562-11DB-4F24-BB09-D018A7ACE6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7645C8D1-EABD-447B-B8E8-294ED42B53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sp>
        <p:nvSpPr>
          <p:cNvPr id="23" name="Rectangle 22">
            <a:extLst>
              <a:ext uri="{FF2B5EF4-FFF2-40B4-BE49-F238E27FC236}">
                <a16:creationId xmlns:a16="http://schemas.microsoft.com/office/drawing/2014/main" id="{C63B2F05-B9A4-42FA-9DE1-4E4B120E90EB}"/>
              </a:ext>
            </a:extLst>
          </p:cNvPr>
          <p:cNvSpPr/>
          <p:nvPr/>
        </p:nvSpPr>
        <p:spPr>
          <a:xfrm>
            <a:off x="7114140" y="2596903"/>
            <a:ext cx="4574866" cy="193899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UpskilPRO tools are designed in easy-to-use solutions, all you need to do is download the tool and get to work immediately . All UpskilPRO material has taken 100’s of hours and many 1000’s of $ to build , all this expertise and content is brought to you for a fraction of the cost to help professionals enhance their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	core areas which are best suited to improve using our too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Subject matter expertise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Best practices</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Analytical output &amp; charting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ioritization</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ocess</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Train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p:txBody>
      </p:sp>
      <p:sp>
        <p:nvSpPr>
          <p:cNvPr id="49" name="Rectangle 48">
            <a:extLst>
              <a:ext uri="{FF2B5EF4-FFF2-40B4-BE49-F238E27FC236}">
                <a16:creationId xmlns:a16="http://schemas.microsoft.com/office/drawing/2014/main" id="{2595F606-B854-479A-B445-F7B07576866F}"/>
              </a:ext>
            </a:extLst>
          </p:cNvPr>
          <p:cNvSpPr/>
          <p:nvPr/>
        </p:nvSpPr>
        <p:spPr>
          <a:xfrm>
            <a:off x="6426689" y="6003111"/>
            <a:ext cx="5821238"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Tools in one place to get 10X productive now. </a:t>
            </a:r>
          </a:p>
        </p:txBody>
      </p:sp>
      <p:sp>
        <p:nvSpPr>
          <p:cNvPr id="19" name="TextBox 18">
            <a:extLst>
              <a:ext uri="{FF2B5EF4-FFF2-40B4-BE49-F238E27FC236}">
                <a16:creationId xmlns:a16="http://schemas.microsoft.com/office/drawing/2014/main" id="{0FAFB392-4E20-49CF-9184-35A7319B2A1C}"/>
              </a:ext>
            </a:extLst>
          </p:cNvPr>
          <p:cNvSpPr txBox="1"/>
          <p:nvPr/>
        </p:nvSpPr>
        <p:spPr>
          <a:xfrm>
            <a:off x="6278017" y="864932"/>
            <a:ext cx="5913983" cy="830997"/>
          </a:xfrm>
          <a:prstGeom prst="rect">
            <a:avLst/>
          </a:prstGeom>
          <a:noFill/>
        </p:spPr>
        <p:txBody>
          <a:bodyPr wrap="square">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Created by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ex-Procter &amp; Gamble, Rothmans,  BAT, Gillette, Nokia,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Microsoft &amp; 3M managers. </a:t>
            </a:r>
          </a:p>
        </p:txBody>
      </p:sp>
      <p:sp>
        <p:nvSpPr>
          <p:cNvPr id="2" name="Slide Number Placeholder 1">
            <a:extLst>
              <a:ext uri="{FF2B5EF4-FFF2-40B4-BE49-F238E27FC236}">
                <a16:creationId xmlns:a16="http://schemas.microsoft.com/office/drawing/2014/main" id="{263C534D-7CD7-4D0F-89BB-7C9F18C088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8828D9-3E6A-477F-A491-AADAE3613DD2}" type="slidenum">
              <a:rPr kumimoji="0" lang="en-GB" sz="1200" b="0" i="0" u="none" strike="noStrike" kern="1200" cap="none" spc="0" normalizeH="0" baseline="0" noProof="0" smtClean="0">
                <a:ln>
                  <a:noFill/>
                </a:ln>
                <a:solidFill>
                  <a:prstClr val="black">
                    <a:tint val="75000"/>
                  </a:prstClr>
                </a:solidFill>
                <a:effectLst/>
                <a:uLnTx/>
                <a:uFillTx/>
                <a:latin typeface="La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sp>
        <p:nvSpPr>
          <p:cNvPr id="3" name="Rectangle 2">
            <a:extLst>
              <a:ext uri="{FF2B5EF4-FFF2-40B4-BE49-F238E27FC236}">
                <a16:creationId xmlns:a16="http://schemas.microsoft.com/office/drawing/2014/main" id="{6B675A7B-FA23-3F3D-DE18-1C4C9A3A95A2}"/>
              </a:ext>
            </a:extLst>
          </p:cNvPr>
          <p:cNvSpPr/>
          <p:nvPr/>
        </p:nvSpPr>
        <p:spPr>
          <a:xfrm>
            <a:off x="554566" y="3005896"/>
            <a:ext cx="6519333" cy="86177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Making life </a:t>
            </a:r>
            <a:r>
              <a:rPr kumimoji="0" lang="en-US" sz="2800" b="1" i="0" u="none" strike="noStrike" kern="1200" cap="none" spc="0" normalizeH="0" baseline="0" noProof="0" dirty="0">
                <a:ln>
                  <a:noFill/>
                </a:ln>
                <a:solidFill>
                  <a:srgbClr val="EEBA00"/>
                </a:solidFill>
                <a:effectLst/>
                <a:uLnTx/>
                <a:uFillTx/>
                <a:latin typeface="Poppins" panose="00000500000000000000" pitchFamily="2" charset="0"/>
                <a:ea typeface="+mn-ea"/>
                <a:cs typeface="Poppins" panose="00000500000000000000" pitchFamily="2" charset="0"/>
              </a:rPr>
              <a:t>simpler</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91B5"/>
                </a:solidFill>
                <a:effectLst/>
                <a:uLnTx/>
                <a:uFillTx/>
                <a:latin typeface="Poppins" panose="00000500000000000000" pitchFamily="2" charset="0"/>
                <a:ea typeface="+mn-ea"/>
                <a:cs typeface="Poppins" panose="00000500000000000000" pitchFamily="2" charset="0"/>
              </a:rPr>
              <a:t>Sales</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amp; </a:t>
            </a:r>
            <a:r>
              <a:rPr kumimoji="0" lang="en-US" sz="2800" b="1" i="0" u="none" strike="noStrike" kern="1200" cap="none" spc="0" normalizeH="0" baseline="0" noProof="0" dirty="0">
                <a:ln>
                  <a:noFill/>
                </a:ln>
                <a:solidFill>
                  <a:srgbClr val="DB5000"/>
                </a:solidFill>
                <a:effectLst/>
                <a:uLnTx/>
                <a:uFillTx/>
                <a:latin typeface="Poppins" panose="00000500000000000000" pitchFamily="2" charset="0"/>
                <a:ea typeface="+mn-ea"/>
                <a:cs typeface="Poppins" panose="00000500000000000000" pitchFamily="2" charset="0"/>
              </a:rPr>
              <a:t>Marketing</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professionals. </a:t>
            </a:r>
          </a:p>
        </p:txBody>
      </p:sp>
    </p:spTree>
    <p:extLst>
      <p:ext uri="{BB962C8B-B14F-4D97-AF65-F5344CB8AC3E}">
        <p14:creationId xmlns:p14="http://schemas.microsoft.com/office/powerpoint/2010/main" val="40259445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E0C8180-015B-53FD-4E6A-8FA4BC5158C7}"/>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amp; Channel Sizing </a:t>
            </a:r>
          </a:p>
        </p:txBody>
      </p:sp>
      <p:pic>
        <p:nvPicPr>
          <p:cNvPr id="4" name="Picture 3" descr="Logo&#10;&#10;Description automatically generated">
            <a:extLst>
              <a:ext uri="{FF2B5EF4-FFF2-40B4-BE49-F238E27FC236}">
                <a16:creationId xmlns:a16="http://schemas.microsoft.com/office/drawing/2014/main" id="{E5B2D4F2-60C1-81FB-9CE5-9C0CDEAE9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99478E7F-20EB-302F-6FEB-36A18BB7AE9C}"/>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6" name="Table 5">
            <a:extLst>
              <a:ext uri="{FF2B5EF4-FFF2-40B4-BE49-F238E27FC236}">
                <a16:creationId xmlns:a16="http://schemas.microsoft.com/office/drawing/2014/main" id="{341381D2-16A7-39E7-0943-74D3E04D7329}"/>
              </a:ext>
            </a:extLst>
          </p:cNvPr>
          <p:cNvGraphicFramePr>
            <a:graphicFrameLocks noGrp="1"/>
          </p:cNvGraphicFramePr>
          <p:nvPr>
            <p:extLst>
              <p:ext uri="{D42A27DB-BD31-4B8C-83A1-F6EECF244321}">
                <p14:modId xmlns:p14="http://schemas.microsoft.com/office/powerpoint/2010/main" val="1489089591"/>
              </p:ext>
            </p:extLst>
          </p:nvPr>
        </p:nvGraphicFramePr>
        <p:xfrm>
          <a:off x="725714" y="1054038"/>
          <a:ext cx="10251591" cy="4320001"/>
        </p:xfrm>
        <a:graphic>
          <a:graphicData uri="http://schemas.openxmlformats.org/drawingml/2006/table">
            <a:tbl>
              <a:tblPr firstRow="1" bandRow="1">
                <a:tableStyleId>{5C22544A-7EE6-4342-B048-85BDC9FD1C3A}</a:tableStyleId>
              </a:tblPr>
              <a:tblGrid>
                <a:gridCol w="2747204">
                  <a:extLst>
                    <a:ext uri="{9D8B030D-6E8A-4147-A177-3AD203B41FA5}">
                      <a16:colId xmlns:a16="http://schemas.microsoft.com/office/drawing/2014/main" val="1207560090"/>
                    </a:ext>
                  </a:extLst>
                </a:gridCol>
                <a:gridCol w="2707165">
                  <a:extLst>
                    <a:ext uri="{9D8B030D-6E8A-4147-A177-3AD203B41FA5}">
                      <a16:colId xmlns:a16="http://schemas.microsoft.com/office/drawing/2014/main" val="4118078510"/>
                    </a:ext>
                  </a:extLst>
                </a:gridCol>
                <a:gridCol w="2234324">
                  <a:extLst>
                    <a:ext uri="{9D8B030D-6E8A-4147-A177-3AD203B41FA5}">
                      <a16:colId xmlns:a16="http://schemas.microsoft.com/office/drawing/2014/main" val="2559892957"/>
                    </a:ext>
                  </a:extLst>
                </a:gridCol>
                <a:gridCol w="2562898">
                  <a:extLst>
                    <a:ext uri="{9D8B030D-6E8A-4147-A177-3AD203B41FA5}">
                      <a16:colId xmlns:a16="http://schemas.microsoft.com/office/drawing/2014/main" val="364046904"/>
                    </a:ext>
                  </a:extLst>
                </a:gridCol>
              </a:tblGrid>
              <a:tr h="363533">
                <a:tc>
                  <a:txBody>
                    <a:bodyPr/>
                    <a:lstStyle/>
                    <a:p>
                      <a:pPr algn="ctr"/>
                      <a:r>
                        <a:rPr lang="en-GB" sz="1400" dirty="0">
                          <a:solidFill>
                            <a:schemeClr val="bg1"/>
                          </a:solidFill>
                        </a:rPr>
                        <a:t>Market </a:t>
                      </a:r>
                    </a:p>
                  </a:txBody>
                  <a:tcPr/>
                </a:tc>
                <a:tc>
                  <a:txBody>
                    <a:bodyPr/>
                    <a:lstStyle/>
                    <a:p>
                      <a:pPr algn="ctr"/>
                      <a:r>
                        <a:rPr lang="en-GB" sz="1400" dirty="0">
                          <a:solidFill>
                            <a:schemeClr val="bg1"/>
                          </a:solidFill>
                        </a:rPr>
                        <a:t>Category </a:t>
                      </a:r>
                    </a:p>
                  </a:txBody>
                  <a:tcPr/>
                </a:tc>
                <a:tc>
                  <a:txBody>
                    <a:bodyPr/>
                    <a:lstStyle/>
                    <a:p>
                      <a:pPr algn="ctr"/>
                      <a:r>
                        <a:rPr lang="en-GB" sz="1400" dirty="0">
                          <a:solidFill>
                            <a:schemeClr val="bg1"/>
                          </a:solidFill>
                        </a:rPr>
                        <a:t>Subcategory </a:t>
                      </a:r>
                    </a:p>
                  </a:txBody>
                  <a:tcPr/>
                </a:tc>
                <a:tc>
                  <a:txBody>
                    <a:bodyPr/>
                    <a:lstStyle/>
                    <a:p>
                      <a:pPr algn="ctr"/>
                      <a:r>
                        <a:rPr lang="en-GB" sz="1400" dirty="0">
                          <a:solidFill>
                            <a:schemeClr val="bg1"/>
                          </a:solidFill>
                        </a:rPr>
                        <a:t>Last Year </a:t>
                      </a:r>
                    </a:p>
                  </a:txBody>
                  <a:tcPr/>
                </a:tc>
                <a:extLst>
                  <a:ext uri="{0D108BD9-81ED-4DB2-BD59-A6C34878D82A}">
                    <a16:rowId xmlns:a16="http://schemas.microsoft.com/office/drawing/2014/main" val="81982691"/>
                  </a:ext>
                </a:extLst>
              </a:tr>
              <a:tr h="86922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1"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solidFill>
                            <a:schemeClr val="tx1"/>
                          </a:solidFill>
                        </a:rPr>
                        <a:t>Business Comments</a:t>
                      </a:r>
                    </a:p>
                  </a:txBody>
                  <a:tcPr>
                    <a:solidFill>
                      <a:schemeClr val="bg1">
                        <a:lumMod val="95000"/>
                      </a:schemeClr>
                    </a:solidFill>
                  </a:tcPr>
                </a:tc>
                <a:tc>
                  <a:txBody>
                    <a:bodyPr/>
                    <a:lstStyle/>
                    <a:p>
                      <a:r>
                        <a:rPr lang="en-GB" sz="1000" i="1" dirty="0"/>
                        <a:t>Cover high level indicator comments to align your audience here at a category level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i="1" dirty="0"/>
                        <a:t>Cover high level indicator comments to align your audience here at a subcategory level </a:t>
                      </a:r>
                    </a:p>
                    <a:p>
                      <a:endParaRPr lang="en-GB" sz="1000" i="1" dirty="0"/>
                    </a:p>
                  </a:txBody>
                  <a:tcPr>
                    <a:solidFill>
                      <a:schemeClr val="bg1">
                        <a:lumMod val="95000"/>
                      </a:schemeClr>
                    </a:solidFill>
                  </a:tcPr>
                </a:tc>
                <a:tc>
                  <a:txBody>
                    <a:bodyPr/>
                    <a:lstStyle/>
                    <a:p>
                      <a:r>
                        <a:rPr lang="en-GB" sz="1000" i="1" dirty="0"/>
                        <a:t>Cover any comments relevant to the last year performance for your audience here  </a:t>
                      </a:r>
                    </a:p>
                  </a:txBody>
                  <a:tcPr>
                    <a:solidFill>
                      <a:schemeClr val="bg1">
                        <a:lumMod val="95000"/>
                      </a:schemeClr>
                    </a:solidFill>
                  </a:tcPr>
                </a:tc>
                <a:extLst>
                  <a:ext uri="{0D108BD9-81ED-4DB2-BD59-A6C34878D82A}">
                    <a16:rowId xmlns:a16="http://schemas.microsoft.com/office/drawing/2014/main" val="3073184419"/>
                  </a:ext>
                </a:extLst>
              </a:tr>
              <a:tr h="289741">
                <a:tc>
                  <a:txBody>
                    <a:bodyPr/>
                    <a:lstStyle/>
                    <a:p>
                      <a:endParaRPr lang="en-GB" sz="1200" dirty="0"/>
                    </a:p>
                  </a:txBody>
                  <a:tcPr>
                    <a:solidFill>
                      <a:schemeClr val="bg1">
                        <a:lumMod val="95000"/>
                      </a:schemeClr>
                    </a:solidFill>
                  </a:tcPr>
                </a:tc>
                <a:tc>
                  <a:txBody>
                    <a:bodyPr/>
                    <a:lstStyle/>
                    <a:p>
                      <a:pPr algn="ctr"/>
                      <a:r>
                        <a:rPr lang="en-GB" sz="1200" dirty="0">
                          <a:solidFill>
                            <a:schemeClr val="bg1"/>
                          </a:solidFill>
                        </a:rPr>
                        <a:t>Previous year </a:t>
                      </a:r>
                    </a:p>
                  </a:txBody>
                  <a:tcPr>
                    <a:solidFill>
                      <a:schemeClr val="accent1"/>
                    </a:solidFill>
                  </a:tcPr>
                </a:tc>
                <a:tc>
                  <a:txBody>
                    <a:bodyPr/>
                    <a:lstStyle/>
                    <a:p>
                      <a:pPr algn="ctr"/>
                      <a:r>
                        <a:rPr lang="en-GB" sz="1200" dirty="0">
                          <a:solidFill>
                            <a:schemeClr val="bg1"/>
                          </a:solidFill>
                        </a:rPr>
                        <a:t>Last Year </a:t>
                      </a:r>
                    </a:p>
                  </a:txBody>
                  <a:tcPr>
                    <a:solidFill>
                      <a:schemeClr val="accent1"/>
                    </a:solidFill>
                  </a:tcPr>
                </a:tc>
                <a:tc>
                  <a:txBody>
                    <a:bodyPr/>
                    <a:lstStyle/>
                    <a:p>
                      <a:pPr algn="ctr"/>
                      <a:r>
                        <a:rPr lang="en-GB" sz="1200" dirty="0">
                          <a:solidFill>
                            <a:schemeClr val="bg1"/>
                          </a:solidFill>
                        </a:rPr>
                        <a:t>This Year </a:t>
                      </a:r>
                    </a:p>
                  </a:txBody>
                  <a:tcPr>
                    <a:solidFill>
                      <a:schemeClr val="accent1"/>
                    </a:solidFill>
                  </a:tcPr>
                </a:tc>
                <a:extLst>
                  <a:ext uri="{0D108BD9-81ED-4DB2-BD59-A6C34878D82A}">
                    <a16:rowId xmlns:a16="http://schemas.microsoft.com/office/drawing/2014/main" val="2574141459"/>
                  </a:ext>
                </a:extLst>
              </a:tr>
              <a:tr h="2897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t>Category size </a:t>
                      </a:r>
                    </a:p>
                  </a:txBody>
                  <a:tcPr>
                    <a:solidFill>
                      <a:schemeClr val="bg1">
                        <a:lumMod val="95000"/>
                      </a:schemeClr>
                    </a:solidFill>
                  </a:tcPr>
                </a:tc>
                <a:tc>
                  <a:txBody>
                    <a:bodyPr/>
                    <a:lstStyle/>
                    <a:p>
                      <a:r>
                        <a:rPr lang="en-GB" sz="1000" dirty="0"/>
                        <a:t>459 mn $</a:t>
                      </a:r>
                    </a:p>
                  </a:txBody>
                  <a:tcPr>
                    <a:solidFill>
                      <a:schemeClr val="bg1">
                        <a:lumMod val="95000"/>
                      </a:schemeClr>
                    </a:solidFill>
                  </a:tcPr>
                </a:tc>
                <a:tc>
                  <a:txBody>
                    <a:bodyPr/>
                    <a:lstStyle/>
                    <a:p>
                      <a:r>
                        <a:rPr lang="en-GB" sz="1000" dirty="0"/>
                        <a:t>512 mn $</a:t>
                      </a:r>
                    </a:p>
                  </a:txBody>
                  <a:tcPr>
                    <a:solidFill>
                      <a:schemeClr val="bg1">
                        <a:lumMod val="95000"/>
                      </a:schemeClr>
                    </a:solidFill>
                  </a:tcPr>
                </a:tc>
                <a:tc>
                  <a:txBody>
                    <a:bodyPr/>
                    <a:lstStyle/>
                    <a:p>
                      <a:r>
                        <a:rPr lang="en-GB" sz="1000" dirty="0"/>
                        <a:t>569Mn$</a:t>
                      </a:r>
                    </a:p>
                  </a:txBody>
                  <a:tcPr>
                    <a:solidFill>
                      <a:schemeClr val="bg1">
                        <a:lumMod val="95000"/>
                      </a:schemeClr>
                    </a:solidFill>
                  </a:tcPr>
                </a:tc>
                <a:extLst>
                  <a:ext uri="{0D108BD9-81ED-4DB2-BD59-A6C34878D82A}">
                    <a16:rowId xmlns:a16="http://schemas.microsoft.com/office/drawing/2014/main" val="385497981"/>
                  </a:ext>
                </a:extLst>
              </a:tr>
              <a:tr h="313470">
                <a:tc>
                  <a:txBody>
                    <a:bodyPr/>
                    <a:lstStyle/>
                    <a:p>
                      <a:r>
                        <a:rPr lang="en-GB" sz="1000" b="1" dirty="0"/>
                        <a:t>Customer Size / Turnover </a:t>
                      </a:r>
                    </a:p>
                  </a:txBody>
                  <a:tcPr>
                    <a:solidFill>
                      <a:schemeClr val="bg1">
                        <a:lumMod val="95000"/>
                      </a:schemeClr>
                    </a:solidFill>
                  </a:tcPr>
                </a:tc>
                <a:tc>
                  <a:txBody>
                    <a:bodyPr/>
                    <a:lstStyle/>
                    <a:p>
                      <a:r>
                        <a:rPr lang="en-GB" sz="1000" dirty="0"/>
                        <a:t>35.00 Mn $</a:t>
                      </a:r>
                    </a:p>
                  </a:txBody>
                  <a:tcPr>
                    <a:solidFill>
                      <a:schemeClr val="bg1">
                        <a:lumMod val="95000"/>
                      </a:schemeClr>
                    </a:solidFill>
                  </a:tcPr>
                </a:tc>
                <a:tc>
                  <a:txBody>
                    <a:bodyPr/>
                    <a:lstStyle/>
                    <a:p>
                      <a:r>
                        <a:rPr lang="en-GB" sz="1000" dirty="0"/>
                        <a:t>36.9mn$</a:t>
                      </a:r>
                    </a:p>
                  </a:txBody>
                  <a:tcPr>
                    <a:solidFill>
                      <a:schemeClr val="bg1">
                        <a:lumMod val="95000"/>
                      </a:schemeClr>
                    </a:solidFill>
                  </a:tcPr>
                </a:tc>
                <a:tc>
                  <a:txBody>
                    <a:bodyPr/>
                    <a:lstStyle/>
                    <a:p>
                      <a:r>
                        <a:rPr lang="en-GB" sz="1000" dirty="0"/>
                        <a:t>39.1 Mn $ ( Est ) </a:t>
                      </a:r>
                    </a:p>
                  </a:txBody>
                  <a:tcPr>
                    <a:solidFill>
                      <a:schemeClr val="bg1">
                        <a:lumMod val="95000"/>
                      </a:schemeClr>
                    </a:solidFill>
                  </a:tcPr>
                </a:tc>
                <a:extLst>
                  <a:ext uri="{0D108BD9-81ED-4DB2-BD59-A6C34878D82A}">
                    <a16:rowId xmlns:a16="http://schemas.microsoft.com/office/drawing/2014/main" val="2428912356"/>
                  </a:ext>
                </a:extLst>
              </a:tr>
              <a:tr h="313470">
                <a:tc>
                  <a:txBody>
                    <a:bodyPr/>
                    <a:lstStyle/>
                    <a:p>
                      <a:r>
                        <a:rPr lang="en-GB" sz="1000" b="1" dirty="0"/>
                        <a:t>Competing Brands </a:t>
                      </a:r>
                    </a:p>
                  </a:txBody>
                  <a:tcPr>
                    <a:solidFill>
                      <a:schemeClr val="bg1">
                        <a:lumMod val="95000"/>
                      </a:schemeClr>
                    </a:solidFill>
                  </a:tcPr>
                </a:tc>
                <a:tc>
                  <a:txBody>
                    <a:bodyPr/>
                    <a:lstStyle/>
                    <a:p>
                      <a:r>
                        <a:rPr lang="en-GB" sz="1000" dirty="0"/>
                        <a:t>None </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Competing brand XX</a:t>
                      </a:r>
                    </a:p>
                  </a:txBody>
                  <a:tcPr>
                    <a:solidFill>
                      <a:schemeClr val="bg1">
                        <a:lumMod val="95000"/>
                      </a:schemeClr>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1612073081"/>
                  </a:ext>
                </a:extLst>
              </a:tr>
              <a:tr h="313470">
                <a:tc>
                  <a:txBody>
                    <a:bodyPr/>
                    <a:lstStyle/>
                    <a:p>
                      <a:r>
                        <a:rPr lang="en-GB" sz="1000" b="1" dirty="0"/>
                        <a:t>Dominant Channels </a:t>
                      </a:r>
                    </a:p>
                  </a:txBody>
                  <a:tcPr>
                    <a:solidFill>
                      <a:schemeClr val="bg1">
                        <a:lumMod val="95000"/>
                      </a:schemeClr>
                    </a:solidFill>
                  </a:tcPr>
                </a:tc>
                <a:tc>
                  <a:txBody>
                    <a:bodyPr/>
                    <a:lstStyle/>
                    <a:p>
                      <a:r>
                        <a:rPr lang="en-GB" sz="1000" dirty="0"/>
                        <a:t>Garages &amp; Dealerships  </a:t>
                      </a:r>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4246901403"/>
                  </a:ext>
                </a:extLst>
              </a:tr>
              <a:tr h="313470">
                <a:tc>
                  <a:txBody>
                    <a:bodyPr/>
                    <a:lstStyle/>
                    <a:p>
                      <a:r>
                        <a:rPr lang="en-GB" sz="1000" b="1" dirty="0"/>
                        <a:t>Support channels </a:t>
                      </a:r>
                    </a:p>
                  </a:txBody>
                  <a:tcPr>
                    <a:solidFill>
                      <a:schemeClr val="bg1">
                        <a:lumMod val="95000"/>
                      </a:schemeClr>
                    </a:solidFill>
                  </a:tcPr>
                </a:tc>
                <a:tc>
                  <a:txBody>
                    <a:bodyPr/>
                    <a:lstStyle/>
                    <a:p>
                      <a:r>
                        <a:rPr lang="en-GB" sz="1000" dirty="0"/>
                        <a:t>DIY</a:t>
                      </a:r>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1086604594"/>
                  </a:ext>
                </a:extLst>
              </a:tr>
              <a:tr h="313470">
                <a:tc>
                  <a:txBody>
                    <a:bodyPr/>
                    <a:lstStyle/>
                    <a:p>
                      <a:r>
                        <a:rPr lang="en-GB" sz="1000" b="1" dirty="0"/>
                        <a:t>Category size in units</a:t>
                      </a:r>
                    </a:p>
                  </a:txBody>
                  <a:tcPr>
                    <a:solidFill>
                      <a:schemeClr val="bg1">
                        <a:lumMod val="95000"/>
                      </a:schemeClr>
                    </a:solidFill>
                  </a:tcPr>
                </a:tc>
                <a:tc>
                  <a:txBody>
                    <a:bodyPr/>
                    <a:lstStyle/>
                    <a:p>
                      <a:r>
                        <a:rPr lang="en-GB" sz="1000" dirty="0"/>
                        <a:t>75,000</a:t>
                      </a:r>
                    </a:p>
                  </a:txBody>
                  <a:tcPr>
                    <a:solidFill>
                      <a:schemeClr val="bg1">
                        <a:lumMod val="95000"/>
                      </a:schemeClr>
                    </a:solidFill>
                  </a:tcPr>
                </a:tc>
                <a:tc>
                  <a:txBody>
                    <a:bodyPr/>
                    <a:lstStyle/>
                    <a:p>
                      <a:r>
                        <a:rPr lang="en-GB" sz="1000" dirty="0"/>
                        <a:t>82500</a:t>
                      </a:r>
                    </a:p>
                  </a:txBody>
                  <a:tcPr>
                    <a:solidFill>
                      <a:schemeClr val="bg1">
                        <a:lumMod val="95000"/>
                      </a:schemeClr>
                    </a:solidFill>
                  </a:tcPr>
                </a:tc>
                <a:tc>
                  <a:txBody>
                    <a:bodyPr/>
                    <a:lstStyle/>
                    <a:p>
                      <a:r>
                        <a:rPr lang="en-GB" sz="1000" dirty="0"/>
                        <a:t>90150 Est</a:t>
                      </a:r>
                    </a:p>
                  </a:txBody>
                  <a:tcPr>
                    <a:solidFill>
                      <a:schemeClr val="bg1">
                        <a:lumMod val="95000"/>
                      </a:schemeClr>
                    </a:solidFill>
                  </a:tcPr>
                </a:tc>
                <a:extLst>
                  <a:ext uri="{0D108BD9-81ED-4DB2-BD59-A6C34878D82A}">
                    <a16:rowId xmlns:a16="http://schemas.microsoft.com/office/drawing/2014/main" val="1942931181"/>
                  </a:ext>
                </a:extLst>
              </a:tr>
              <a:tr h="313470">
                <a:tc>
                  <a:txBody>
                    <a:bodyPr/>
                    <a:lstStyle/>
                    <a:p>
                      <a:r>
                        <a:rPr lang="en-GB" sz="1000" b="1" dirty="0"/>
                        <a:t>Category size in $</a:t>
                      </a:r>
                    </a:p>
                  </a:txBody>
                  <a:tcPr>
                    <a:solidFill>
                      <a:schemeClr val="bg1">
                        <a:lumMod val="95000"/>
                      </a:schemeClr>
                    </a:solidFill>
                  </a:tcPr>
                </a:tc>
                <a:tc>
                  <a:txBody>
                    <a:bodyPr/>
                    <a:lstStyle/>
                    <a:p>
                      <a:r>
                        <a:rPr lang="en-GB" sz="1000" dirty="0"/>
                        <a:t>459 mn $</a:t>
                      </a:r>
                    </a:p>
                  </a:txBody>
                  <a:tcPr>
                    <a:solidFill>
                      <a:schemeClr val="bg1">
                        <a:lumMod val="95000"/>
                      </a:schemeClr>
                    </a:solidFill>
                  </a:tcPr>
                </a:tc>
                <a:tc>
                  <a:txBody>
                    <a:bodyPr/>
                    <a:lstStyle/>
                    <a:p>
                      <a:r>
                        <a:rPr lang="en-GB" sz="1000" dirty="0"/>
                        <a:t>512 mn $</a:t>
                      </a:r>
                    </a:p>
                  </a:txBody>
                  <a:tcPr>
                    <a:solidFill>
                      <a:schemeClr val="bg1">
                        <a:lumMod val="95000"/>
                      </a:schemeClr>
                    </a:solidFill>
                  </a:tcPr>
                </a:tc>
                <a:tc>
                  <a:txBody>
                    <a:bodyPr/>
                    <a:lstStyle/>
                    <a:p>
                      <a:r>
                        <a:rPr lang="en-GB" sz="1000" dirty="0"/>
                        <a:t>529Mn$</a:t>
                      </a:r>
                    </a:p>
                  </a:txBody>
                  <a:tcPr>
                    <a:solidFill>
                      <a:schemeClr val="bg1">
                        <a:lumMod val="95000"/>
                      </a:schemeClr>
                    </a:solidFill>
                  </a:tcPr>
                </a:tc>
                <a:extLst>
                  <a:ext uri="{0D108BD9-81ED-4DB2-BD59-A6C34878D82A}">
                    <a16:rowId xmlns:a16="http://schemas.microsoft.com/office/drawing/2014/main" val="2490979866"/>
                  </a:ext>
                </a:extLst>
              </a:tr>
              <a:tr h="313470">
                <a:tc>
                  <a:txBody>
                    <a:bodyPr/>
                    <a:lstStyle/>
                    <a:p>
                      <a:r>
                        <a:rPr lang="en-GB" sz="1000" b="1" dirty="0"/>
                        <a:t>Brand shares in $</a:t>
                      </a:r>
                    </a:p>
                  </a:txBody>
                  <a:tcPr>
                    <a:solidFill>
                      <a:schemeClr val="bg1">
                        <a:lumMod val="95000"/>
                      </a:schemeClr>
                    </a:solidFill>
                  </a:tcPr>
                </a:tc>
                <a:tc>
                  <a:txBody>
                    <a:bodyPr/>
                    <a:lstStyle/>
                    <a:p>
                      <a:r>
                        <a:rPr lang="en-GB" sz="1000" dirty="0"/>
                        <a:t>7.6%</a:t>
                      </a:r>
                    </a:p>
                  </a:txBody>
                  <a:tcPr>
                    <a:solidFill>
                      <a:schemeClr val="bg1">
                        <a:lumMod val="95000"/>
                      </a:schemeClr>
                    </a:solidFill>
                  </a:tcPr>
                </a:tc>
                <a:tc>
                  <a:txBody>
                    <a:bodyPr/>
                    <a:lstStyle/>
                    <a:p>
                      <a:r>
                        <a:rPr lang="en-GB" sz="1000" dirty="0"/>
                        <a:t>7.20 %</a:t>
                      </a:r>
                    </a:p>
                  </a:txBody>
                  <a:tcPr>
                    <a:solidFill>
                      <a:schemeClr val="bg1">
                        <a:lumMod val="95000"/>
                      </a:schemeClr>
                    </a:solidFill>
                  </a:tcPr>
                </a:tc>
                <a:tc>
                  <a:txBody>
                    <a:bodyPr/>
                    <a:lstStyle/>
                    <a:p>
                      <a:r>
                        <a:rPr lang="en-GB" sz="1000" dirty="0"/>
                        <a:t>7.39%</a:t>
                      </a:r>
                    </a:p>
                  </a:txBody>
                  <a:tcPr>
                    <a:solidFill>
                      <a:schemeClr val="bg1">
                        <a:lumMod val="95000"/>
                      </a:schemeClr>
                    </a:solidFill>
                  </a:tcPr>
                </a:tc>
                <a:extLst>
                  <a:ext uri="{0D108BD9-81ED-4DB2-BD59-A6C34878D82A}">
                    <a16:rowId xmlns:a16="http://schemas.microsoft.com/office/drawing/2014/main" val="1452815385"/>
                  </a:ext>
                </a:extLst>
              </a:tr>
              <a:tr h="313470">
                <a:tc>
                  <a:txBody>
                    <a:bodyPr/>
                    <a:lstStyle/>
                    <a:p>
                      <a:r>
                        <a:rPr lang="en-GB" sz="1000" b="1" dirty="0"/>
                        <a:t>Brand shares in %</a:t>
                      </a:r>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extLst>
                  <a:ext uri="{0D108BD9-81ED-4DB2-BD59-A6C34878D82A}">
                    <a16:rowId xmlns:a16="http://schemas.microsoft.com/office/drawing/2014/main" val="1678758876"/>
                  </a:ext>
                </a:extLst>
              </a:tr>
            </a:tbl>
          </a:graphicData>
        </a:graphic>
      </p:graphicFrame>
      <p:sp>
        <p:nvSpPr>
          <p:cNvPr id="2" name="TextBox 1">
            <a:extLst>
              <a:ext uri="{FF2B5EF4-FFF2-40B4-BE49-F238E27FC236}">
                <a16:creationId xmlns:a16="http://schemas.microsoft.com/office/drawing/2014/main" id="{EFBF7191-54EF-3350-E24F-97B38BAAF67E}"/>
              </a:ext>
            </a:extLst>
          </p:cNvPr>
          <p:cNvSpPr txBox="1"/>
          <p:nvPr/>
        </p:nvSpPr>
        <p:spPr>
          <a:xfrm>
            <a:off x="968188" y="5871882"/>
            <a:ext cx="10219765" cy="215444"/>
          </a:xfrm>
          <a:prstGeom prst="rect">
            <a:avLst/>
          </a:prstGeom>
          <a:solidFill>
            <a:schemeClr val="accent5">
              <a:lumMod val="40000"/>
              <a:lumOff val="60000"/>
            </a:schemeClr>
          </a:solidFill>
        </p:spPr>
        <p:txBody>
          <a:bodyPr wrap="square" rtlCol="0">
            <a:spAutoFit/>
          </a:bodyPr>
          <a:lstStyle/>
          <a:p>
            <a:r>
              <a:rPr lang="en-GB" sz="800" b="1" dirty="0"/>
              <a:t>Guiding comments </a:t>
            </a:r>
            <a:r>
              <a:rPr lang="en-GB" sz="800" dirty="0"/>
              <a:t>:  </a:t>
            </a:r>
            <a:r>
              <a:rPr lang="en-GB" sz="800" i="1" dirty="0"/>
              <a:t>Add comments here that will provide a high-level support to your key opportunities , break them down to guide stakeholder engagement.</a:t>
            </a:r>
          </a:p>
        </p:txBody>
      </p:sp>
    </p:spTree>
    <p:extLst>
      <p:ext uri="{BB962C8B-B14F-4D97-AF65-F5344CB8AC3E}">
        <p14:creationId xmlns:p14="http://schemas.microsoft.com/office/powerpoint/2010/main" val="12363130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E0C8180-015B-53FD-4E6A-8FA4BC5158C7}"/>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Key Channels</a:t>
            </a:r>
          </a:p>
        </p:txBody>
      </p:sp>
      <p:pic>
        <p:nvPicPr>
          <p:cNvPr id="4" name="Picture 3" descr="Logo&#10;&#10;Description automatically generated">
            <a:extLst>
              <a:ext uri="{FF2B5EF4-FFF2-40B4-BE49-F238E27FC236}">
                <a16:creationId xmlns:a16="http://schemas.microsoft.com/office/drawing/2014/main" id="{E5B2D4F2-60C1-81FB-9CE5-9C0CDEAE9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99478E7F-20EB-302F-6FEB-36A18BB7AE9C}"/>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6" name="Table 5">
            <a:extLst>
              <a:ext uri="{FF2B5EF4-FFF2-40B4-BE49-F238E27FC236}">
                <a16:creationId xmlns:a16="http://schemas.microsoft.com/office/drawing/2014/main" id="{341381D2-16A7-39E7-0943-74D3E04D7329}"/>
              </a:ext>
            </a:extLst>
          </p:cNvPr>
          <p:cNvGraphicFramePr>
            <a:graphicFrameLocks noGrp="1"/>
          </p:cNvGraphicFramePr>
          <p:nvPr>
            <p:extLst>
              <p:ext uri="{D42A27DB-BD31-4B8C-83A1-F6EECF244321}">
                <p14:modId xmlns:p14="http://schemas.microsoft.com/office/powerpoint/2010/main" val="640759823"/>
              </p:ext>
            </p:extLst>
          </p:nvPr>
        </p:nvGraphicFramePr>
        <p:xfrm>
          <a:off x="386436" y="1519808"/>
          <a:ext cx="8225842" cy="3248283"/>
        </p:xfrm>
        <a:graphic>
          <a:graphicData uri="http://schemas.openxmlformats.org/drawingml/2006/table">
            <a:tbl>
              <a:tblPr firstRow="1" bandRow="1">
                <a:tableStyleId>{5C22544A-7EE6-4342-B048-85BDC9FD1C3A}</a:tableStyleId>
              </a:tblPr>
              <a:tblGrid>
                <a:gridCol w="888071">
                  <a:extLst>
                    <a:ext uri="{9D8B030D-6E8A-4147-A177-3AD203B41FA5}">
                      <a16:colId xmlns:a16="http://schemas.microsoft.com/office/drawing/2014/main" val="1207560090"/>
                    </a:ext>
                  </a:extLst>
                </a:gridCol>
                <a:gridCol w="1071094">
                  <a:extLst>
                    <a:ext uri="{9D8B030D-6E8A-4147-A177-3AD203B41FA5}">
                      <a16:colId xmlns:a16="http://schemas.microsoft.com/office/drawing/2014/main" val="794591167"/>
                    </a:ext>
                  </a:extLst>
                </a:gridCol>
                <a:gridCol w="803035">
                  <a:extLst>
                    <a:ext uri="{9D8B030D-6E8A-4147-A177-3AD203B41FA5}">
                      <a16:colId xmlns:a16="http://schemas.microsoft.com/office/drawing/2014/main" val="4118078510"/>
                    </a:ext>
                  </a:extLst>
                </a:gridCol>
                <a:gridCol w="810540">
                  <a:extLst>
                    <a:ext uri="{9D8B030D-6E8A-4147-A177-3AD203B41FA5}">
                      <a16:colId xmlns:a16="http://schemas.microsoft.com/office/drawing/2014/main" val="3334356696"/>
                    </a:ext>
                  </a:extLst>
                </a:gridCol>
                <a:gridCol w="840560">
                  <a:extLst>
                    <a:ext uri="{9D8B030D-6E8A-4147-A177-3AD203B41FA5}">
                      <a16:colId xmlns:a16="http://schemas.microsoft.com/office/drawing/2014/main" val="1933254466"/>
                    </a:ext>
                  </a:extLst>
                </a:gridCol>
                <a:gridCol w="818045">
                  <a:extLst>
                    <a:ext uri="{9D8B030D-6E8A-4147-A177-3AD203B41FA5}">
                      <a16:colId xmlns:a16="http://schemas.microsoft.com/office/drawing/2014/main" val="164218929"/>
                    </a:ext>
                  </a:extLst>
                </a:gridCol>
                <a:gridCol w="2994497">
                  <a:extLst>
                    <a:ext uri="{9D8B030D-6E8A-4147-A177-3AD203B41FA5}">
                      <a16:colId xmlns:a16="http://schemas.microsoft.com/office/drawing/2014/main" val="2559892957"/>
                    </a:ext>
                  </a:extLst>
                </a:gridCol>
              </a:tblGrid>
              <a:tr h="383364">
                <a:tc>
                  <a:txBody>
                    <a:bodyPr/>
                    <a:lstStyle/>
                    <a:p>
                      <a:pPr algn="ctr"/>
                      <a:r>
                        <a:rPr lang="en-GB" sz="900" dirty="0">
                          <a:solidFill>
                            <a:schemeClr val="bg1"/>
                          </a:solidFill>
                        </a:rPr>
                        <a:t>Driver &amp; Support Channels </a:t>
                      </a:r>
                    </a:p>
                  </a:txBody>
                  <a:tcPr/>
                </a:tc>
                <a:tc>
                  <a:txBody>
                    <a:bodyPr/>
                    <a:lstStyle/>
                    <a:p>
                      <a:pPr algn="ctr"/>
                      <a:endParaRPr lang="en-GB" sz="900" dirty="0">
                        <a:solidFill>
                          <a:schemeClr val="bg1"/>
                        </a:solidFill>
                      </a:endParaRPr>
                    </a:p>
                    <a:p>
                      <a:pPr algn="ctr"/>
                      <a:r>
                        <a:rPr lang="en-GB" sz="900" dirty="0">
                          <a:solidFill>
                            <a:schemeClr val="bg1"/>
                          </a:solidFill>
                        </a:rPr>
                        <a:t>Prioritization</a:t>
                      </a:r>
                    </a:p>
                  </a:txBody>
                  <a:tcPr/>
                </a:tc>
                <a:tc>
                  <a:txBody>
                    <a:bodyPr/>
                    <a:lstStyle/>
                    <a:p>
                      <a:pPr algn="ctr"/>
                      <a:r>
                        <a:rPr lang="en-GB" sz="800" dirty="0">
                          <a:solidFill>
                            <a:schemeClr val="bg1"/>
                          </a:solidFill>
                        </a:rPr>
                        <a:t>Market </a:t>
                      </a:r>
                    </a:p>
                    <a:p>
                      <a:pPr algn="ctr"/>
                      <a:r>
                        <a:rPr lang="en-GB" sz="800" dirty="0">
                          <a:solidFill>
                            <a:schemeClr val="bg1"/>
                          </a:solidFill>
                        </a:rPr>
                        <a:t>Contribution $ </a:t>
                      </a:r>
                    </a:p>
                  </a:txBody>
                  <a:tcPr/>
                </a:tc>
                <a:tc>
                  <a:txBody>
                    <a:bodyPr/>
                    <a:lstStyle/>
                    <a:p>
                      <a:pPr algn="ctr"/>
                      <a:r>
                        <a:rPr lang="en-GB" sz="800" dirty="0">
                          <a:solidFill>
                            <a:schemeClr val="bg1"/>
                          </a:solidFill>
                        </a:rPr>
                        <a:t>Market Contribution %</a:t>
                      </a:r>
                    </a:p>
                  </a:txBody>
                  <a:tcPr/>
                </a:tc>
                <a:tc>
                  <a:txBody>
                    <a:bodyPr/>
                    <a:lstStyle/>
                    <a:p>
                      <a:pPr algn="ctr"/>
                      <a:r>
                        <a:rPr lang="en-GB" sz="800" dirty="0">
                          <a:solidFill>
                            <a:schemeClr val="bg1"/>
                          </a:solidFill>
                        </a:rPr>
                        <a:t>Business </a:t>
                      </a:r>
                    </a:p>
                    <a:p>
                      <a:pPr algn="ctr"/>
                      <a:r>
                        <a:rPr lang="en-GB" sz="800" dirty="0">
                          <a:solidFill>
                            <a:schemeClr val="bg1"/>
                          </a:solidFill>
                        </a:rPr>
                        <a:t>Contribution $ </a:t>
                      </a:r>
                    </a:p>
                  </a:txBody>
                  <a:tcPr/>
                </a:tc>
                <a:tc>
                  <a:txBody>
                    <a:bodyPr/>
                    <a:lstStyle/>
                    <a:p>
                      <a:pPr algn="ctr"/>
                      <a:r>
                        <a:rPr lang="en-GB" sz="900" dirty="0">
                          <a:solidFill>
                            <a:schemeClr val="bg1"/>
                          </a:solidFill>
                        </a:rPr>
                        <a:t>Business Contribution %</a:t>
                      </a:r>
                    </a:p>
                  </a:txBody>
                  <a:tcPr/>
                </a:tc>
                <a:tc>
                  <a:txBody>
                    <a:bodyPr/>
                    <a:lstStyle/>
                    <a:p>
                      <a:pPr algn="ctr"/>
                      <a:endParaRPr lang="en-GB" sz="900" dirty="0">
                        <a:solidFill>
                          <a:schemeClr val="bg1"/>
                        </a:solidFill>
                      </a:endParaRPr>
                    </a:p>
                    <a:p>
                      <a:pPr algn="ctr"/>
                      <a:r>
                        <a:rPr lang="en-GB" sz="900" dirty="0">
                          <a:solidFill>
                            <a:schemeClr val="bg1"/>
                          </a:solidFill>
                        </a:rPr>
                        <a:t>Strategies </a:t>
                      </a:r>
                    </a:p>
                  </a:txBody>
                  <a:tcPr/>
                </a:tc>
                <a:extLst>
                  <a:ext uri="{0D108BD9-81ED-4DB2-BD59-A6C34878D82A}">
                    <a16:rowId xmlns:a16="http://schemas.microsoft.com/office/drawing/2014/main" val="81982691"/>
                  </a:ext>
                </a:extLst>
              </a:tr>
              <a:tr h="3378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hannel A</a:t>
                      </a:r>
                    </a:p>
                  </a:txBody>
                  <a:tcPr>
                    <a:solidFill>
                      <a:schemeClr val="accent1"/>
                    </a:solidFill>
                  </a:tcPr>
                </a:tc>
                <a:tc>
                  <a:txBody>
                    <a:bodyPr/>
                    <a:lstStyle/>
                    <a:p>
                      <a:pPr algn="ctr"/>
                      <a:r>
                        <a:rPr lang="en-GB" sz="800" dirty="0">
                          <a:solidFill>
                            <a:schemeClr val="bg1"/>
                          </a:solidFill>
                        </a:rPr>
                        <a:t>Drive Channel </a:t>
                      </a:r>
                    </a:p>
                  </a:txBody>
                  <a:tcPr>
                    <a:solidFill>
                      <a:schemeClr val="accent6"/>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r>
                        <a:rPr lang="en-GB" sz="800" i="1" dirty="0"/>
                        <a:t>All Category dominance , complete branding and annual TM plan tie up for all major categories</a:t>
                      </a:r>
                    </a:p>
                  </a:txBody>
                  <a:tcPr>
                    <a:solidFill>
                      <a:schemeClr val="bg1">
                        <a:lumMod val="95000"/>
                      </a:schemeClr>
                    </a:solidFill>
                  </a:tcPr>
                </a:tc>
                <a:extLst>
                  <a:ext uri="{0D108BD9-81ED-4DB2-BD59-A6C34878D82A}">
                    <a16:rowId xmlns:a16="http://schemas.microsoft.com/office/drawing/2014/main" val="3073184419"/>
                  </a:ext>
                </a:extLst>
              </a:tr>
              <a:tr h="3378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hannel B</a:t>
                      </a:r>
                    </a:p>
                  </a:txBody>
                  <a:tcPr>
                    <a:solidFill>
                      <a:schemeClr val="accent1"/>
                    </a:solidFill>
                  </a:tcPr>
                </a:tc>
                <a:tc>
                  <a:txBody>
                    <a:bodyPr/>
                    <a:lstStyle/>
                    <a:p>
                      <a:pPr algn="ctr"/>
                      <a:r>
                        <a:rPr lang="en-GB" sz="800" dirty="0">
                          <a:solidFill>
                            <a:schemeClr val="bg1"/>
                          </a:solidFill>
                        </a:rPr>
                        <a:t>Drive Channel </a:t>
                      </a:r>
                    </a:p>
                  </a:txBody>
                  <a:tcPr>
                    <a:solidFill>
                      <a:schemeClr val="accent6"/>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r>
                        <a:rPr lang="en-GB" sz="800" i="1" dirty="0"/>
                        <a:t>All Category dominance , complete branding and annual TM plan tie up for all major categories</a:t>
                      </a:r>
                      <a:endParaRPr lang="en-GB" sz="800" i="1"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816221093"/>
                  </a:ext>
                </a:extLst>
              </a:tr>
              <a:tr h="395882">
                <a:tc>
                  <a:txBody>
                    <a:bodyPr/>
                    <a:lstStyle/>
                    <a:p>
                      <a:r>
                        <a:rPr lang="en-GB" sz="1000" b="1" dirty="0">
                          <a:solidFill>
                            <a:schemeClr val="bg1"/>
                          </a:solidFill>
                        </a:rPr>
                        <a:t>Channel C</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bg1"/>
                          </a:solidFill>
                          <a:latin typeface="+mn-lt"/>
                          <a:ea typeface="+mn-ea"/>
                          <a:cs typeface="+mn-cs"/>
                        </a:rPr>
                        <a:t>Support Channel </a:t>
                      </a:r>
                    </a:p>
                  </a:txBody>
                  <a:tcPr>
                    <a:solidFill>
                      <a:schemeClr val="accent3"/>
                    </a:solidFill>
                  </a:tcPr>
                </a:tc>
                <a:tc>
                  <a:txBody>
                    <a:bodyPr/>
                    <a:lstStyle/>
                    <a:p>
                      <a:pPr algn="l"/>
                      <a:endParaRPr lang="en-GB" sz="1000" dirty="0">
                        <a:solidFill>
                          <a:schemeClr val="tx1"/>
                        </a:solidFill>
                      </a:endParaRPr>
                    </a:p>
                  </a:txBody>
                  <a:tcPr>
                    <a:solidFill>
                      <a:schemeClr val="bg1">
                        <a:lumMod val="95000"/>
                      </a:schemeClr>
                    </a:solidFill>
                  </a:tcPr>
                </a:tc>
                <a:tc>
                  <a:txBody>
                    <a:bodyPr/>
                    <a:lstStyle/>
                    <a:p>
                      <a:pPr algn="l"/>
                      <a:endParaRPr lang="en-GB" sz="1000" dirty="0">
                        <a:solidFill>
                          <a:schemeClr val="tx1"/>
                        </a:solidFill>
                      </a:endParaRPr>
                    </a:p>
                  </a:txBody>
                  <a:tcPr>
                    <a:solidFill>
                      <a:schemeClr val="bg1">
                        <a:lumMod val="95000"/>
                      </a:schemeClr>
                    </a:solidFill>
                  </a:tcPr>
                </a:tc>
                <a:tc>
                  <a:txBody>
                    <a:bodyPr/>
                    <a:lstStyle/>
                    <a:p>
                      <a:pPr algn="l"/>
                      <a:endParaRPr lang="en-GB" sz="1000" dirty="0">
                        <a:solidFill>
                          <a:schemeClr val="tx1"/>
                        </a:solidFill>
                      </a:endParaRPr>
                    </a:p>
                  </a:txBody>
                  <a:tcPr>
                    <a:solidFill>
                      <a:schemeClr val="bg1">
                        <a:lumMod val="95000"/>
                      </a:schemeClr>
                    </a:solidFill>
                  </a:tcPr>
                </a:tc>
                <a:tc>
                  <a:txBody>
                    <a:bodyPr/>
                    <a:lstStyle/>
                    <a:p>
                      <a:pPr algn="l"/>
                      <a:endParaRPr lang="en-GB" sz="1000" dirty="0">
                        <a:solidFill>
                          <a:schemeClr val="tx1"/>
                        </a:solidFill>
                      </a:endParaRP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i="1" dirty="0"/>
                        <a:t>Specific Category dominance , situational branding engagement and thematic TM plan tie up for all agreed categories only </a:t>
                      </a:r>
                      <a:endParaRPr lang="en-GB" sz="800" i="1"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130243688"/>
                  </a:ext>
                </a:extLst>
              </a:tr>
              <a:tr h="3378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hannel D</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bg1"/>
                          </a:solidFill>
                          <a:latin typeface="+mn-lt"/>
                          <a:ea typeface="+mn-ea"/>
                          <a:cs typeface="+mn-cs"/>
                        </a:rPr>
                        <a:t>Support Channel </a:t>
                      </a:r>
                    </a:p>
                  </a:txBody>
                  <a:tcPr>
                    <a:solidFill>
                      <a:schemeClr val="accent3"/>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i="1" dirty="0"/>
                        <a:t>Specific Category dominance , situational branding engagement and thematic TM plan tie up for all agreed categories only </a:t>
                      </a:r>
                      <a:endParaRPr lang="en-GB" sz="800" i="1"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385497981"/>
                  </a:ext>
                </a:extLst>
              </a:tr>
              <a:tr h="337803">
                <a:tc>
                  <a:txBody>
                    <a:bodyPr/>
                    <a:lstStyle/>
                    <a:p>
                      <a:r>
                        <a:rPr lang="en-GB" sz="1000" b="1" dirty="0">
                          <a:solidFill>
                            <a:schemeClr val="bg1"/>
                          </a:solidFill>
                        </a:rPr>
                        <a:t>Channel E</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bg1"/>
                          </a:solidFill>
                          <a:latin typeface="+mn-lt"/>
                          <a:ea typeface="+mn-ea"/>
                          <a:cs typeface="+mn-cs"/>
                        </a:rPr>
                        <a:t>Maintain Channel</a:t>
                      </a:r>
                      <a:endParaRPr lang="en-GB" sz="800" dirty="0">
                        <a:solidFill>
                          <a:schemeClr val="bg1"/>
                        </a:solidFill>
                      </a:endParaRPr>
                    </a:p>
                  </a:txBody>
                  <a:tcPr>
                    <a:solidFill>
                      <a:schemeClr val="accent2"/>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pPr marL="0" algn="l" defTabSz="914400" rtl="0" eaLnBrk="1" latinLnBrk="0" hangingPunct="1"/>
                      <a:r>
                        <a:rPr lang="en-GB" sz="800" i="1" kern="1200" dirty="0">
                          <a:solidFill>
                            <a:schemeClr val="dk1"/>
                          </a:solidFill>
                          <a:latin typeface="+mn-lt"/>
                          <a:ea typeface="+mn-ea"/>
                          <a:cs typeface="+mn-cs"/>
                        </a:rPr>
                        <a:t>Assign category engagement based on opportunistic engagement specific to channel dynamics and agreements</a:t>
                      </a:r>
                    </a:p>
                  </a:txBody>
                  <a:tcPr>
                    <a:solidFill>
                      <a:schemeClr val="bg1">
                        <a:lumMod val="95000"/>
                      </a:schemeClr>
                    </a:solidFill>
                  </a:tcPr>
                </a:tc>
                <a:extLst>
                  <a:ext uri="{0D108BD9-81ED-4DB2-BD59-A6C34878D82A}">
                    <a16:rowId xmlns:a16="http://schemas.microsoft.com/office/drawing/2014/main" val="2428912356"/>
                  </a:ext>
                </a:extLst>
              </a:tr>
              <a:tr h="337803">
                <a:tc>
                  <a:txBody>
                    <a:bodyPr/>
                    <a:lstStyle/>
                    <a:p>
                      <a:r>
                        <a:rPr lang="en-GB" sz="1000" b="1" dirty="0">
                          <a:solidFill>
                            <a:schemeClr val="bg1"/>
                          </a:solidFill>
                        </a:rPr>
                        <a:t>Channel F</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bg1"/>
                          </a:solidFill>
                          <a:latin typeface="+mn-lt"/>
                          <a:ea typeface="+mn-ea"/>
                          <a:cs typeface="+mn-cs"/>
                        </a:rPr>
                        <a:t>Maintain Channel </a:t>
                      </a:r>
                      <a:endParaRPr lang="en-GB" sz="800" dirty="0">
                        <a:solidFill>
                          <a:schemeClr val="bg1"/>
                        </a:solidFill>
                      </a:endParaRPr>
                    </a:p>
                  </a:txBody>
                  <a:tcPr>
                    <a:solidFill>
                      <a:schemeClr val="accent2"/>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i="1" kern="1200" dirty="0">
                          <a:solidFill>
                            <a:schemeClr val="dk1"/>
                          </a:solidFill>
                          <a:latin typeface="+mn-lt"/>
                          <a:ea typeface="+mn-ea"/>
                          <a:cs typeface="+mn-cs"/>
                        </a:rPr>
                        <a:t>Assign category engagement based on opportunistic engagement specific to channel dynamics and agreements</a:t>
                      </a:r>
                    </a:p>
                  </a:txBody>
                  <a:tcPr>
                    <a:solidFill>
                      <a:schemeClr val="bg1">
                        <a:lumMod val="95000"/>
                      </a:schemeClr>
                    </a:solidFill>
                  </a:tcPr>
                </a:tc>
                <a:extLst>
                  <a:ext uri="{0D108BD9-81ED-4DB2-BD59-A6C34878D82A}">
                    <a16:rowId xmlns:a16="http://schemas.microsoft.com/office/drawing/2014/main" val="1612073081"/>
                  </a:ext>
                </a:extLst>
              </a:tr>
              <a:tr h="337803">
                <a:tc>
                  <a:txBody>
                    <a:bodyPr/>
                    <a:lstStyle/>
                    <a:p>
                      <a:r>
                        <a:rPr lang="en-GB" sz="1000" b="1" dirty="0">
                          <a:solidFill>
                            <a:schemeClr val="bg1"/>
                          </a:solidFill>
                        </a:rPr>
                        <a:t>Channel G </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kern="1200" dirty="0">
                          <a:solidFill>
                            <a:schemeClr val="bg1"/>
                          </a:solidFill>
                          <a:latin typeface="+mn-lt"/>
                          <a:ea typeface="+mn-ea"/>
                          <a:cs typeface="+mn-cs"/>
                        </a:rPr>
                        <a:t>Maintain Channel </a:t>
                      </a:r>
                      <a:endParaRPr lang="en-GB" sz="800" dirty="0">
                        <a:solidFill>
                          <a:schemeClr val="bg1"/>
                        </a:solidFill>
                      </a:endParaRPr>
                    </a:p>
                  </a:txBody>
                  <a:tcPr>
                    <a:solidFill>
                      <a:schemeClr val="accent2"/>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endParaRPr lang="en-GB" sz="1000"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i="1" kern="1200" dirty="0">
                          <a:solidFill>
                            <a:schemeClr val="dk1"/>
                          </a:solidFill>
                          <a:latin typeface="+mn-lt"/>
                          <a:ea typeface="+mn-ea"/>
                          <a:cs typeface="+mn-cs"/>
                        </a:rPr>
                        <a:t>Assign category engagement based on opportunistic engagement specific to channel dynamics and agreements</a:t>
                      </a:r>
                    </a:p>
                  </a:txBody>
                  <a:tcPr>
                    <a:solidFill>
                      <a:schemeClr val="bg1">
                        <a:lumMod val="95000"/>
                      </a:schemeClr>
                    </a:solidFill>
                  </a:tcPr>
                </a:tc>
                <a:extLst>
                  <a:ext uri="{0D108BD9-81ED-4DB2-BD59-A6C34878D82A}">
                    <a16:rowId xmlns:a16="http://schemas.microsoft.com/office/drawing/2014/main" val="4246901403"/>
                  </a:ext>
                </a:extLst>
              </a:tr>
              <a:tr h="322663">
                <a:tc>
                  <a:txBody>
                    <a:bodyPr/>
                    <a:lstStyle/>
                    <a:p>
                      <a:r>
                        <a:rPr lang="en-GB" sz="1000" dirty="0">
                          <a:solidFill>
                            <a:schemeClr val="bg1"/>
                          </a:solidFill>
                        </a:rPr>
                        <a:t>Totals </a:t>
                      </a:r>
                    </a:p>
                  </a:txBody>
                  <a:tcPr>
                    <a:solidFill>
                      <a:schemeClr val="accent1"/>
                    </a:solidFill>
                  </a:tcPr>
                </a:tc>
                <a:tc>
                  <a:txBody>
                    <a:bodyPr/>
                    <a:lstStyle/>
                    <a:p>
                      <a:pPr algn="ctr"/>
                      <a:endParaRPr lang="en-GB" sz="1000" dirty="0"/>
                    </a:p>
                  </a:txBody>
                  <a:tcPr>
                    <a:solidFill>
                      <a:schemeClr val="accent1"/>
                    </a:solidFill>
                  </a:tcPr>
                </a:tc>
                <a:tc>
                  <a:txBody>
                    <a:bodyPr/>
                    <a:lstStyle/>
                    <a:p>
                      <a:r>
                        <a:rPr lang="en-GB" sz="1000" dirty="0">
                          <a:solidFill>
                            <a:schemeClr val="bg1"/>
                          </a:solidFill>
                        </a:rPr>
                        <a:t>US $</a:t>
                      </a:r>
                    </a:p>
                  </a:txBody>
                  <a:tcPr>
                    <a:solidFill>
                      <a:schemeClr val="accent1"/>
                    </a:solidFill>
                  </a:tcPr>
                </a:tc>
                <a:tc>
                  <a:txBody>
                    <a:bodyPr/>
                    <a:lstStyle/>
                    <a:p>
                      <a:r>
                        <a:rPr lang="en-GB" sz="1000" dirty="0">
                          <a:solidFill>
                            <a:schemeClr val="bg1"/>
                          </a:solidFill>
                        </a:rPr>
                        <a:t>100%</a:t>
                      </a:r>
                    </a:p>
                  </a:txBody>
                  <a:tcPr>
                    <a:solidFill>
                      <a:schemeClr val="accent1"/>
                    </a:solidFill>
                  </a:tcPr>
                </a:tc>
                <a:tc>
                  <a:txBody>
                    <a:bodyPr/>
                    <a:lstStyle/>
                    <a:p>
                      <a:r>
                        <a:rPr lang="en-GB" sz="1000" dirty="0">
                          <a:solidFill>
                            <a:schemeClr val="bg1"/>
                          </a:solidFill>
                        </a:rPr>
                        <a:t>US$</a:t>
                      </a:r>
                    </a:p>
                  </a:txBody>
                  <a:tcPr>
                    <a:solidFill>
                      <a:schemeClr val="accent1"/>
                    </a:solidFill>
                  </a:tcPr>
                </a:tc>
                <a:tc>
                  <a:txBody>
                    <a:bodyPr/>
                    <a:lstStyle/>
                    <a:p>
                      <a:r>
                        <a:rPr lang="en-GB" sz="1000" dirty="0">
                          <a:solidFill>
                            <a:schemeClr val="bg1"/>
                          </a:solidFill>
                        </a:rPr>
                        <a:t>100%</a:t>
                      </a:r>
                    </a:p>
                  </a:txBody>
                  <a:tcPr>
                    <a:solidFill>
                      <a:schemeClr val="accent1"/>
                    </a:solidFill>
                  </a:tcPr>
                </a:tc>
                <a:tc>
                  <a:txBody>
                    <a:bodyPr/>
                    <a:lstStyle/>
                    <a:p>
                      <a:endParaRPr lang="en-GB" sz="1000" dirty="0"/>
                    </a:p>
                  </a:txBody>
                  <a:tcPr>
                    <a:solidFill>
                      <a:schemeClr val="bg1"/>
                    </a:solidFill>
                  </a:tcPr>
                </a:tc>
                <a:extLst>
                  <a:ext uri="{0D108BD9-81ED-4DB2-BD59-A6C34878D82A}">
                    <a16:rowId xmlns:a16="http://schemas.microsoft.com/office/drawing/2014/main" val="1678758876"/>
                  </a:ext>
                </a:extLst>
              </a:tr>
            </a:tbl>
          </a:graphicData>
        </a:graphic>
      </p:graphicFrame>
      <p:sp>
        <p:nvSpPr>
          <p:cNvPr id="2" name="TextBox 1">
            <a:extLst>
              <a:ext uri="{FF2B5EF4-FFF2-40B4-BE49-F238E27FC236}">
                <a16:creationId xmlns:a16="http://schemas.microsoft.com/office/drawing/2014/main" id="{587A9147-97BD-D579-D72F-AA393C1022AB}"/>
              </a:ext>
            </a:extLst>
          </p:cNvPr>
          <p:cNvSpPr txBox="1"/>
          <p:nvPr/>
        </p:nvSpPr>
        <p:spPr>
          <a:xfrm>
            <a:off x="905435" y="5791200"/>
            <a:ext cx="10219765" cy="338554"/>
          </a:xfrm>
          <a:prstGeom prst="rect">
            <a:avLst/>
          </a:prstGeom>
          <a:solidFill>
            <a:schemeClr val="accent5">
              <a:lumMod val="40000"/>
              <a:lumOff val="60000"/>
            </a:schemeClr>
          </a:solidFill>
        </p:spPr>
        <p:txBody>
          <a:bodyPr wrap="square" rtlCol="0">
            <a:spAutoFit/>
          </a:bodyPr>
          <a:lstStyle/>
          <a:p>
            <a:r>
              <a:rPr lang="en-GB" sz="800" b="1" dirty="0"/>
              <a:t>Guiding comments </a:t>
            </a:r>
            <a:r>
              <a:rPr lang="en-GB" sz="800" dirty="0"/>
              <a:t>: It's important to nominate channel importance to the particular brand and category to manage its level of engagement , your level of resource management will differ for each of the prioritization levels </a:t>
            </a:r>
          </a:p>
          <a:p>
            <a:r>
              <a:rPr lang="en-GB" sz="800" i="1" dirty="0"/>
              <a:t>Add comments here that will provide a high-level support to your key opportunities , break them down to guide stakeholder engagement.</a:t>
            </a:r>
          </a:p>
        </p:txBody>
      </p:sp>
      <p:graphicFrame>
        <p:nvGraphicFramePr>
          <p:cNvPr id="7" name="Table 6">
            <a:extLst>
              <a:ext uri="{FF2B5EF4-FFF2-40B4-BE49-F238E27FC236}">
                <a16:creationId xmlns:a16="http://schemas.microsoft.com/office/drawing/2014/main" id="{8D536876-A1D5-99D2-AE76-E2FC731075B9}"/>
              </a:ext>
            </a:extLst>
          </p:cNvPr>
          <p:cNvGraphicFramePr>
            <a:graphicFrameLocks noGrp="1"/>
          </p:cNvGraphicFramePr>
          <p:nvPr>
            <p:extLst>
              <p:ext uri="{D42A27DB-BD31-4B8C-83A1-F6EECF244321}">
                <p14:modId xmlns:p14="http://schemas.microsoft.com/office/powerpoint/2010/main" val="520860488"/>
              </p:ext>
            </p:extLst>
          </p:nvPr>
        </p:nvGraphicFramePr>
        <p:xfrm>
          <a:off x="8781461" y="1843532"/>
          <a:ext cx="3227480" cy="3297814"/>
        </p:xfrm>
        <a:graphic>
          <a:graphicData uri="http://schemas.openxmlformats.org/drawingml/2006/table">
            <a:tbl>
              <a:tblPr firstRow="1" bandRow="1">
                <a:tableStyleId>{E8034E78-7F5D-4C2E-B375-FC64B27BC917}</a:tableStyleId>
              </a:tblPr>
              <a:tblGrid>
                <a:gridCol w="806870">
                  <a:extLst>
                    <a:ext uri="{9D8B030D-6E8A-4147-A177-3AD203B41FA5}">
                      <a16:colId xmlns:a16="http://schemas.microsoft.com/office/drawing/2014/main" val="3280467479"/>
                    </a:ext>
                  </a:extLst>
                </a:gridCol>
                <a:gridCol w="806870">
                  <a:extLst>
                    <a:ext uri="{9D8B030D-6E8A-4147-A177-3AD203B41FA5}">
                      <a16:colId xmlns:a16="http://schemas.microsoft.com/office/drawing/2014/main" val="1787214358"/>
                    </a:ext>
                  </a:extLst>
                </a:gridCol>
                <a:gridCol w="806870">
                  <a:extLst>
                    <a:ext uri="{9D8B030D-6E8A-4147-A177-3AD203B41FA5}">
                      <a16:colId xmlns:a16="http://schemas.microsoft.com/office/drawing/2014/main" val="176490900"/>
                    </a:ext>
                  </a:extLst>
                </a:gridCol>
                <a:gridCol w="806870">
                  <a:extLst>
                    <a:ext uri="{9D8B030D-6E8A-4147-A177-3AD203B41FA5}">
                      <a16:colId xmlns:a16="http://schemas.microsoft.com/office/drawing/2014/main" val="3134371040"/>
                    </a:ext>
                  </a:extLst>
                </a:gridCol>
              </a:tblGrid>
              <a:tr h="306373">
                <a:tc>
                  <a:txBody>
                    <a:bodyPr/>
                    <a:lstStyle/>
                    <a:p>
                      <a:endParaRPr lang="en-GB" sz="1000" dirty="0"/>
                    </a:p>
                  </a:txBody>
                  <a:tcPr>
                    <a:solidFill>
                      <a:schemeClr val="accent1"/>
                    </a:solidFill>
                  </a:tcPr>
                </a:tc>
                <a:tc>
                  <a:txBody>
                    <a:bodyPr/>
                    <a:lstStyle/>
                    <a:p>
                      <a:pPr algn="ctr"/>
                      <a:r>
                        <a:rPr lang="en-GB" sz="900" dirty="0"/>
                        <a:t>Drive</a:t>
                      </a:r>
                    </a:p>
                  </a:txBody>
                  <a:tcPr>
                    <a:solidFill>
                      <a:schemeClr val="accent1"/>
                    </a:solidFill>
                  </a:tcPr>
                </a:tc>
                <a:tc>
                  <a:txBody>
                    <a:bodyPr/>
                    <a:lstStyle/>
                    <a:p>
                      <a:pPr algn="ctr"/>
                      <a:r>
                        <a:rPr lang="en-GB" sz="900" dirty="0"/>
                        <a:t>Support</a:t>
                      </a:r>
                    </a:p>
                  </a:txBody>
                  <a:tcPr>
                    <a:solidFill>
                      <a:schemeClr val="accent1"/>
                    </a:solidFill>
                  </a:tcPr>
                </a:tc>
                <a:tc>
                  <a:txBody>
                    <a:bodyPr/>
                    <a:lstStyle/>
                    <a:p>
                      <a:pPr algn="ctr"/>
                      <a:r>
                        <a:rPr lang="en-GB" sz="900" dirty="0"/>
                        <a:t>Maintain</a:t>
                      </a:r>
                    </a:p>
                  </a:txBody>
                  <a:tcPr>
                    <a:solidFill>
                      <a:schemeClr val="accent1"/>
                    </a:solidFill>
                  </a:tcPr>
                </a:tc>
                <a:extLst>
                  <a:ext uri="{0D108BD9-81ED-4DB2-BD59-A6C34878D82A}">
                    <a16:rowId xmlns:a16="http://schemas.microsoft.com/office/drawing/2014/main" val="1344139730"/>
                  </a:ext>
                </a:extLst>
              </a:tr>
              <a:tr h="341627">
                <a:tc>
                  <a:txBody>
                    <a:bodyPr/>
                    <a:lstStyle/>
                    <a:p>
                      <a:r>
                        <a:rPr lang="en-GB" sz="800" dirty="0">
                          <a:solidFill>
                            <a:sysClr val="windowText" lastClr="000000"/>
                          </a:solidFill>
                        </a:rPr>
                        <a:t>Business Reviews</a:t>
                      </a:r>
                    </a:p>
                  </a:txBody>
                  <a:tcPr/>
                </a:tc>
                <a:tc>
                  <a:txBody>
                    <a:bodyPr/>
                    <a:lstStyle/>
                    <a:p>
                      <a:pPr algn="ctr"/>
                      <a:endParaRPr lang="en-GB" sz="800" dirty="0">
                        <a:solidFill>
                          <a:schemeClr val="tx1"/>
                        </a:solidFill>
                      </a:endParaRPr>
                    </a:p>
                  </a:txBody>
                  <a:tcPr/>
                </a:tc>
                <a:tc>
                  <a:txBody>
                    <a:bodyPr/>
                    <a:lstStyle/>
                    <a:p>
                      <a:pPr algn="ctr"/>
                      <a:endParaRPr lang="en-GB" sz="800">
                        <a:solidFill>
                          <a:schemeClr val="tx1"/>
                        </a:solidFill>
                      </a:endParaRPr>
                    </a:p>
                  </a:txBody>
                  <a:tcPr/>
                </a:tc>
                <a:tc>
                  <a:txBody>
                    <a:bodyPr/>
                    <a:lstStyle/>
                    <a:p>
                      <a:pPr algn="ctr"/>
                      <a:endParaRPr lang="en-GB" sz="800">
                        <a:solidFill>
                          <a:schemeClr val="tx1"/>
                        </a:solidFill>
                      </a:endParaRPr>
                    </a:p>
                  </a:txBody>
                  <a:tcPr/>
                </a:tc>
                <a:extLst>
                  <a:ext uri="{0D108BD9-81ED-4DB2-BD59-A6C34878D82A}">
                    <a16:rowId xmlns:a16="http://schemas.microsoft.com/office/drawing/2014/main" val="3937033822"/>
                  </a:ext>
                </a:extLst>
              </a:tr>
              <a:tr h="341627">
                <a:tc>
                  <a:txBody>
                    <a:bodyPr/>
                    <a:lstStyle/>
                    <a:p>
                      <a:r>
                        <a:rPr lang="en-GB" sz="800" dirty="0">
                          <a:solidFill>
                            <a:sysClr val="windowText" lastClr="000000"/>
                          </a:solidFill>
                        </a:rPr>
                        <a:t>Spend on promotions</a:t>
                      </a:r>
                    </a:p>
                  </a:txBody>
                  <a:tcPr/>
                </a:tc>
                <a:tc>
                  <a:txBody>
                    <a:bodyPr/>
                    <a:lstStyle/>
                    <a:p>
                      <a:pPr algn="ctr"/>
                      <a:r>
                        <a:rPr lang="en-GB" sz="800" dirty="0">
                          <a:solidFill>
                            <a:schemeClr val="tx1"/>
                          </a:solidFill>
                        </a:rPr>
                        <a:t> 7%</a:t>
                      </a:r>
                    </a:p>
                  </a:txBody>
                  <a:tcPr/>
                </a:tc>
                <a:tc>
                  <a:txBody>
                    <a:bodyPr/>
                    <a:lstStyle/>
                    <a:p>
                      <a:pPr algn="ctr"/>
                      <a:r>
                        <a:rPr lang="en-GB" sz="800" dirty="0">
                          <a:solidFill>
                            <a:schemeClr val="tx1"/>
                          </a:solidFill>
                        </a:rPr>
                        <a:t>4%</a:t>
                      </a:r>
                    </a:p>
                  </a:txBody>
                  <a:tcPr/>
                </a:tc>
                <a:tc>
                  <a:txBody>
                    <a:bodyPr/>
                    <a:lstStyle/>
                    <a:p>
                      <a:pPr algn="ctr"/>
                      <a:r>
                        <a:rPr lang="en-GB" sz="800" dirty="0">
                          <a:solidFill>
                            <a:schemeClr val="tx1"/>
                          </a:solidFill>
                        </a:rPr>
                        <a:t>3%</a:t>
                      </a:r>
                    </a:p>
                  </a:txBody>
                  <a:tcPr/>
                </a:tc>
                <a:extLst>
                  <a:ext uri="{0D108BD9-81ED-4DB2-BD59-A6C34878D82A}">
                    <a16:rowId xmlns:a16="http://schemas.microsoft.com/office/drawing/2014/main" val="867271476"/>
                  </a:ext>
                </a:extLst>
              </a:tr>
              <a:tr h="341627">
                <a:tc>
                  <a:txBody>
                    <a:bodyPr/>
                    <a:lstStyle/>
                    <a:p>
                      <a:r>
                        <a:rPr lang="en-GB" sz="800" dirty="0">
                          <a:solidFill>
                            <a:sysClr val="windowText" lastClr="000000"/>
                          </a:solidFill>
                        </a:rPr>
                        <a:t>Spend on POS</a:t>
                      </a:r>
                    </a:p>
                  </a:txBody>
                  <a:tcPr/>
                </a:tc>
                <a:tc>
                  <a:txBody>
                    <a:bodyPr/>
                    <a:lstStyle/>
                    <a:p>
                      <a:pPr algn="ctr"/>
                      <a:r>
                        <a:rPr lang="en-GB" sz="800" dirty="0">
                          <a:solidFill>
                            <a:schemeClr val="tx1"/>
                          </a:solidFill>
                        </a:rPr>
                        <a:t>3%</a:t>
                      </a:r>
                    </a:p>
                  </a:txBody>
                  <a:tcPr/>
                </a:tc>
                <a:tc>
                  <a:txBody>
                    <a:bodyPr/>
                    <a:lstStyle/>
                    <a:p>
                      <a:pPr algn="ctr"/>
                      <a:endParaRPr lang="en-GB" sz="800" dirty="0">
                        <a:solidFill>
                          <a:schemeClr val="tx1"/>
                        </a:solidFill>
                      </a:endParaRPr>
                    </a:p>
                  </a:txBody>
                  <a:tcPr/>
                </a:tc>
                <a:tc>
                  <a:txBody>
                    <a:bodyPr/>
                    <a:lstStyle/>
                    <a:p>
                      <a:pPr algn="ctr"/>
                      <a:endParaRPr lang="en-GB" sz="800" dirty="0">
                        <a:solidFill>
                          <a:schemeClr val="tx1"/>
                        </a:solidFill>
                      </a:endParaRPr>
                    </a:p>
                  </a:txBody>
                  <a:tcPr/>
                </a:tc>
                <a:extLst>
                  <a:ext uri="{0D108BD9-81ED-4DB2-BD59-A6C34878D82A}">
                    <a16:rowId xmlns:a16="http://schemas.microsoft.com/office/drawing/2014/main" val="2325832049"/>
                  </a:ext>
                </a:extLst>
              </a:tr>
              <a:tr h="341627">
                <a:tc>
                  <a:txBody>
                    <a:bodyPr/>
                    <a:lstStyle/>
                    <a:p>
                      <a:r>
                        <a:rPr lang="en-GB" sz="800" dirty="0">
                          <a:solidFill>
                            <a:sysClr val="windowText" lastClr="000000"/>
                          </a:solidFill>
                        </a:rPr>
                        <a:t>Brand Priorities </a:t>
                      </a:r>
                    </a:p>
                  </a:txBody>
                  <a:tcPr/>
                </a:tc>
                <a:tc>
                  <a:txBody>
                    <a:bodyPr/>
                    <a:lstStyle/>
                    <a:p>
                      <a:pPr algn="ctr"/>
                      <a:r>
                        <a:rPr lang="en-GB" sz="800" dirty="0">
                          <a:solidFill>
                            <a:schemeClr val="tx1"/>
                          </a:solidFill>
                        </a:rPr>
                        <a:t>Designated brands only</a:t>
                      </a:r>
                    </a:p>
                  </a:txBody>
                  <a:tcPr/>
                </a:tc>
                <a:tc>
                  <a:txBody>
                    <a:bodyPr/>
                    <a:lstStyle/>
                    <a:p>
                      <a:pPr algn="ctr"/>
                      <a:endParaRPr lang="en-GB" sz="800" dirty="0">
                        <a:solidFill>
                          <a:schemeClr val="tx1"/>
                        </a:solidFill>
                      </a:endParaRPr>
                    </a:p>
                  </a:txBody>
                  <a:tcPr/>
                </a:tc>
                <a:tc>
                  <a:txBody>
                    <a:bodyPr/>
                    <a:lstStyle/>
                    <a:p>
                      <a:pPr algn="ctr"/>
                      <a:r>
                        <a:rPr lang="en-GB" sz="800" dirty="0">
                          <a:solidFill>
                            <a:schemeClr val="tx1"/>
                          </a:solidFill>
                        </a:rPr>
                        <a:t>Historical </a:t>
                      </a:r>
                    </a:p>
                  </a:txBody>
                  <a:tcPr/>
                </a:tc>
                <a:extLst>
                  <a:ext uri="{0D108BD9-81ED-4DB2-BD59-A6C34878D82A}">
                    <a16:rowId xmlns:a16="http://schemas.microsoft.com/office/drawing/2014/main" val="3797942813"/>
                  </a:ext>
                </a:extLst>
              </a:tr>
              <a:tr h="341627">
                <a:tc>
                  <a:txBody>
                    <a:bodyPr/>
                    <a:lstStyle/>
                    <a:p>
                      <a:r>
                        <a:rPr lang="en-GB" sz="800" dirty="0">
                          <a:solidFill>
                            <a:sysClr val="windowText" lastClr="000000"/>
                          </a:solidFill>
                        </a:rPr>
                        <a:t>Promotion Types </a:t>
                      </a:r>
                    </a:p>
                  </a:txBody>
                  <a:tcPr/>
                </a:tc>
                <a:tc>
                  <a:txBody>
                    <a:bodyPr/>
                    <a:lstStyle/>
                    <a:p>
                      <a:pPr algn="ctr"/>
                      <a:endParaRPr lang="en-GB" sz="800">
                        <a:solidFill>
                          <a:schemeClr val="tx1"/>
                        </a:solidFill>
                      </a:endParaRPr>
                    </a:p>
                  </a:txBody>
                  <a:tcPr/>
                </a:tc>
                <a:tc>
                  <a:txBody>
                    <a:bodyPr/>
                    <a:lstStyle/>
                    <a:p>
                      <a:pPr algn="ctr"/>
                      <a:endParaRPr lang="en-GB" sz="800" dirty="0">
                        <a:solidFill>
                          <a:schemeClr val="tx1"/>
                        </a:solidFill>
                      </a:endParaRPr>
                    </a:p>
                  </a:txBody>
                  <a:tcPr/>
                </a:tc>
                <a:tc>
                  <a:txBody>
                    <a:bodyPr/>
                    <a:lstStyle/>
                    <a:p>
                      <a:pPr algn="ctr"/>
                      <a:endParaRPr lang="en-GB" sz="800" dirty="0">
                        <a:solidFill>
                          <a:schemeClr val="tx1"/>
                        </a:solidFill>
                      </a:endParaRPr>
                    </a:p>
                  </a:txBody>
                  <a:tcPr/>
                </a:tc>
                <a:extLst>
                  <a:ext uri="{0D108BD9-81ED-4DB2-BD59-A6C34878D82A}">
                    <a16:rowId xmlns:a16="http://schemas.microsoft.com/office/drawing/2014/main" val="4003768481"/>
                  </a:ext>
                </a:extLst>
              </a:tr>
              <a:tr h="306373">
                <a:tc>
                  <a:txBody>
                    <a:bodyPr/>
                    <a:lstStyle/>
                    <a:p>
                      <a:r>
                        <a:rPr lang="en-GB" sz="800" dirty="0">
                          <a:solidFill>
                            <a:sysClr val="windowText" lastClr="000000"/>
                          </a:solidFill>
                        </a:rPr>
                        <a:t>Account Specific </a:t>
                      </a:r>
                    </a:p>
                  </a:txBody>
                  <a:tcPr/>
                </a:tc>
                <a:tc>
                  <a:txBody>
                    <a:bodyPr/>
                    <a:lstStyle/>
                    <a:p>
                      <a:pPr algn="ctr"/>
                      <a:endParaRPr lang="en-GB" sz="800">
                        <a:solidFill>
                          <a:schemeClr val="tx1"/>
                        </a:solidFill>
                      </a:endParaRPr>
                    </a:p>
                  </a:txBody>
                  <a:tcPr/>
                </a:tc>
                <a:tc>
                  <a:txBody>
                    <a:bodyPr/>
                    <a:lstStyle/>
                    <a:p>
                      <a:pPr algn="ctr"/>
                      <a:endParaRPr lang="en-GB" sz="800" dirty="0">
                        <a:solidFill>
                          <a:schemeClr val="tx1"/>
                        </a:solidFill>
                      </a:endParaRPr>
                    </a:p>
                  </a:txBody>
                  <a:tcPr/>
                </a:tc>
                <a:tc>
                  <a:txBody>
                    <a:bodyPr/>
                    <a:lstStyle/>
                    <a:p>
                      <a:pPr algn="ctr"/>
                      <a:endParaRPr lang="en-GB" sz="800" dirty="0">
                        <a:solidFill>
                          <a:schemeClr val="tx1"/>
                        </a:solidFill>
                      </a:endParaRPr>
                    </a:p>
                  </a:txBody>
                  <a:tcPr/>
                </a:tc>
                <a:extLst>
                  <a:ext uri="{0D108BD9-81ED-4DB2-BD59-A6C34878D82A}">
                    <a16:rowId xmlns:a16="http://schemas.microsoft.com/office/drawing/2014/main" val="865555578"/>
                  </a:ext>
                </a:extLst>
              </a:tr>
              <a:tr h="306373">
                <a:tc>
                  <a:txBody>
                    <a:bodyPr/>
                    <a:lstStyle/>
                    <a:p>
                      <a:r>
                        <a:rPr lang="en-GB" sz="800" dirty="0">
                          <a:solidFill>
                            <a:sysClr val="windowText" lastClr="000000"/>
                          </a:solidFill>
                        </a:rPr>
                        <a:t>Channel Specific </a:t>
                      </a:r>
                    </a:p>
                  </a:txBody>
                  <a:tcPr/>
                </a:tc>
                <a:tc>
                  <a:txBody>
                    <a:bodyPr/>
                    <a:lstStyle/>
                    <a:p>
                      <a:pPr algn="ctr"/>
                      <a:r>
                        <a:rPr lang="en-GB" sz="800" dirty="0">
                          <a:solidFill>
                            <a:schemeClr val="tx1"/>
                          </a:solidFill>
                        </a:rPr>
                        <a:t>A&amp;B</a:t>
                      </a:r>
                    </a:p>
                  </a:txBody>
                  <a:tcPr/>
                </a:tc>
                <a:tc>
                  <a:txBody>
                    <a:bodyPr/>
                    <a:lstStyle/>
                    <a:p>
                      <a:pPr algn="ctr"/>
                      <a:r>
                        <a:rPr lang="en-GB" sz="800" dirty="0">
                          <a:solidFill>
                            <a:schemeClr val="tx1"/>
                          </a:solidFill>
                        </a:rPr>
                        <a:t>C&amp;D</a:t>
                      </a:r>
                    </a:p>
                  </a:txBody>
                  <a:tcPr/>
                </a:tc>
                <a:tc>
                  <a:txBody>
                    <a:bodyPr/>
                    <a:lstStyle/>
                    <a:p>
                      <a:pPr algn="ctr"/>
                      <a:r>
                        <a:rPr lang="en-GB" sz="800" dirty="0">
                          <a:solidFill>
                            <a:schemeClr val="tx1"/>
                          </a:solidFill>
                        </a:rPr>
                        <a:t>E/F/G</a:t>
                      </a:r>
                    </a:p>
                  </a:txBody>
                  <a:tcPr/>
                </a:tc>
                <a:extLst>
                  <a:ext uri="{0D108BD9-81ED-4DB2-BD59-A6C34878D82A}">
                    <a16:rowId xmlns:a16="http://schemas.microsoft.com/office/drawing/2014/main" val="4028954261"/>
                  </a:ext>
                </a:extLst>
              </a:tr>
              <a:tr h="306373">
                <a:tc>
                  <a:txBody>
                    <a:bodyPr/>
                    <a:lstStyle/>
                    <a:p>
                      <a:endParaRPr lang="en-GB" sz="800" dirty="0">
                        <a:solidFill>
                          <a:sysClr val="windowText" lastClr="000000"/>
                        </a:solidFill>
                      </a:endParaRPr>
                    </a:p>
                  </a:txBody>
                  <a:tcPr/>
                </a:tc>
                <a:tc>
                  <a:txBody>
                    <a:bodyPr/>
                    <a:lstStyle/>
                    <a:p>
                      <a:pPr algn="ctr"/>
                      <a:endParaRPr lang="en-GB" sz="800">
                        <a:solidFill>
                          <a:schemeClr val="tx1"/>
                        </a:solidFill>
                      </a:endParaRPr>
                    </a:p>
                  </a:txBody>
                  <a:tcPr/>
                </a:tc>
                <a:tc>
                  <a:txBody>
                    <a:bodyPr/>
                    <a:lstStyle/>
                    <a:p>
                      <a:pPr algn="ctr"/>
                      <a:endParaRPr lang="en-GB" sz="800" dirty="0">
                        <a:solidFill>
                          <a:schemeClr val="tx1"/>
                        </a:solidFill>
                      </a:endParaRPr>
                    </a:p>
                  </a:txBody>
                  <a:tcPr/>
                </a:tc>
                <a:tc>
                  <a:txBody>
                    <a:bodyPr/>
                    <a:lstStyle/>
                    <a:p>
                      <a:pPr algn="ctr"/>
                      <a:endParaRPr lang="en-GB" sz="800" dirty="0">
                        <a:solidFill>
                          <a:schemeClr val="tx1"/>
                        </a:solidFill>
                      </a:endParaRPr>
                    </a:p>
                  </a:txBody>
                  <a:tcPr/>
                </a:tc>
                <a:extLst>
                  <a:ext uri="{0D108BD9-81ED-4DB2-BD59-A6C34878D82A}">
                    <a16:rowId xmlns:a16="http://schemas.microsoft.com/office/drawing/2014/main" val="3917283155"/>
                  </a:ext>
                </a:extLst>
              </a:tr>
              <a:tr h="306373">
                <a:tc>
                  <a:txBody>
                    <a:bodyPr/>
                    <a:lstStyle/>
                    <a:p>
                      <a:endParaRPr lang="en-GB" sz="800" dirty="0">
                        <a:solidFill>
                          <a:sysClr val="windowText" lastClr="000000"/>
                        </a:solidFill>
                      </a:endParaRPr>
                    </a:p>
                  </a:txBody>
                  <a:tcPr/>
                </a:tc>
                <a:tc>
                  <a:txBody>
                    <a:bodyPr/>
                    <a:lstStyle/>
                    <a:p>
                      <a:pPr algn="ctr"/>
                      <a:endParaRPr lang="en-GB" sz="800" dirty="0">
                        <a:solidFill>
                          <a:schemeClr val="tx1"/>
                        </a:solidFill>
                      </a:endParaRPr>
                    </a:p>
                  </a:txBody>
                  <a:tcPr/>
                </a:tc>
                <a:tc>
                  <a:txBody>
                    <a:bodyPr/>
                    <a:lstStyle/>
                    <a:p>
                      <a:pPr algn="ctr"/>
                      <a:endParaRPr lang="en-GB" sz="800" dirty="0">
                        <a:solidFill>
                          <a:schemeClr val="tx1"/>
                        </a:solidFill>
                      </a:endParaRPr>
                    </a:p>
                  </a:txBody>
                  <a:tcPr/>
                </a:tc>
                <a:tc>
                  <a:txBody>
                    <a:bodyPr/>
                    <a:lstStyle/>
                    <a:p>
                      <a:pPr algn="ctr"/>
                      <a:endParaRPr lang="en-GB" sz="800" dirty="0">
                        <a:solidFill>
                          <a:schemeClr val="tx1"/>
                        </a:solidFill>
                      </a:endParaRPr>
                    </a:p>
                  </a:txBody>
                  <a:tcPr/>
                </a:tc>
                <a:extLst>
                  <a:ext uri="{0D108BD9-81ED-4DB2-BD59-A6C34878D82A}">
                    <a16:rowId xmlns:a16="http://schemas.microsoft.com/office/drawing/2014/main" val="1636162592"/>
                  </a:ext>
                </a:extLst>
              </a:tr>
            </a:tbl>
          </a:graphicData>
        </a:graphic>
      </p:graphicFrame>
    </p:spTree>
    <p:extLst>
      <p:ext uri="{BB962C8B-B14F-4D97-AF65-F5344CB8AC3E}">
        <p14:creationId xmlns:p14="http://schemas.microsoft.com/office/powerpoint/2010/main" val="3504199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E0C8180-015B-53FD-4E6A-8FA4BC5158C7}"/>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Key Customers  </a:t>
            </a:r>
          </a:p>
        </p:txBody>
      </p:sp>
      <p:pic>
        <p:nvPicPr>
          <p:cNvPr id="4" name="Picture 3" descr="Logo&#10;&#10;Description automatically generated">
            <a:extLst>
              <a:ext uri="{FF2B5EF4-FFF2-40B4-BE49-F238E27FC236}">
                <a16:creationId xmlns:a16="http://schemas.microsoft.com/office/drawing/2014/main" id="{E5B2D4F2-60C1-81FB-9CE5-9C0CDEAE9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5" name="Footer Placeholder 3">
            <a:extLst>
              <a:ext uri="{FF2B5EF4-FFF2-40B4-BE49-F238E27FC236}">
                <a16:creationId xmlns:a16="http://schemas.microsoft.com/office/drawing/2014/main" id="{99478E7F-20EB-302F-6FEB-36A18BB7AE9C}"/>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aphicFrame>
        <p:nvGraphicFramePr>
          <p:cNvPr id="6" name="Table 5">
            <a:extLst>
              <a:ext uri="{FF2B5EF4-FFF2-40B4-BE49-F238E27FC236}">
                <a16:creationId xmlns:a16="http://schemas.microsoft.com/office/drawing/2014/main" id="{341381D2-16A7-39E7-0943-74D3E04D7329}"/>
              </a:ext>
            </a:extLst>
          </p:cNvPr>
          <p:cNvGraphicFramePr>
            <a:graphicFrameLocks noGrp="1"/>
          </p:cNvGraphicFramePr>
          <p:nvPr/>
        </p:nvGraphicFramePr>
        <p:xfrm>
          <a:off x="464458" y="1265747"/>
          <a:ext cx="10986954" cy="4332776"/>
        </p:xfrm>
        <a:graphic>
          <a:graphicData uri="http://schemas.openxmlformats.org/drawingml/2006/table">
            <a:tbl>
              <a:tblPr firstRow="1" bandRow="1">
                <a:tableStyleId>{5C22544A-7EE6-4342-B048-85BDC9FD1C3A}</a:tableStyleId>
              </a:tblPr>
              <a:tblGrid>
                <a:gridCol w="1014954">
                  <a:extLst>
                    <a:ext uri="{9D8B030D-6E8A-4147-A177-3AD203B41FA5}">
                      <a16:colId xmlns:a16="http://schemas.microsoft.com/office/drawing/2014/main" val="1207560090"/>
                    </a:ext>
                  </a:extLst>
                </a:gridCol>
                <a:gridCol w="1008000">
                  <a:extLst>
                    <a:ext uri="{9D8B030D-6E8A-4147-A177-3AD203B41FA5}">
                      <a16:colId xmlns:a16="http://schemas.microsoft.com/office/drawing/2014/main" val="4118078510"/>
                    </a:ext>
                  </a:extLst>
                </a:gridCol>
                <a:gridCol w="1008000">
                  <a:extLst>
                    <a:ext uri="{9D8B030D-6E8A-4147-A177-3AD203B41FA5}">
                      <a16:colId xmlns:a16="http://schemas.microsoft.com/office/drawing/2014/main" val="3334356696"/>
                    </a:ext>
                  </a:extLst>
                </a:gridCol>
                <a:gridCol w="1008000">
                  <a:extLst>
                    <a:ext uri="{9D8B030D-6E8A-4147-A177-3AD203B41FA5}">
                      <a16:colId xmlns:a16="http://schemas.microsoft.com/office/drawing/2014/main" val="1933254466"/>
                    </a:ext>
                  </a:extLst>
                </a:gridCol>
                <a:gridCol w="1008000">
                  <a:extLst>
                    <a:ext uri="{9D8B030D-6E8A-4147-A177-3AD203B41FA5}">
                      <a16:colId xmlns:a16="http://schemas.microsoft.com/office/drawing/2014/main" val="1085692477"/>
                    </a:ext>
                  </a:extLst>
                </a:gridCol>
                <a:gridCol w="1008000">
                  <a:extLst>
                    <a:ext uri="{9D8B030D-6E8A-4147-A177-3AD203B41FA5}">
                      <a16:colId xmlns:a16="http://schemas.microsoft.com/office/drawing/2014/main" val="2651332724"/>
                    </a:ext>
                  </a:extLst>
                </a:gridCol>
                <a:gridCol w="1008000">
                  <a:extLst>
                    <a:ext uri="{9D8B030D-6E8A-4147-A177-3AD203B41FA5}">
                      <a16:colId xmlns:a16="http://schemas.microsoft.com/office/drawing/2014/main" val="164218929"/>
                    </a:ext>
                  </a:extLst>
                </a:gridCol>
                <a:gridCol w="1008000">
                  <a:extLst>
                    <a:ext uri="{9D8B030D-6E8A-4147-A177-3AD203B41FA5}">
                      <a16:colId xmlns:a16="http://schemas.microsoft.com/office/drawing/2014/main" val="364046904"/>
                    </a:ext>
                  </a:extLst>
                </a:gridCol>
                <a:gridCol w="2916000">
                  <a:extLst>
                    <a:ext uri="{9D8B030D-6E8A-4147-A177-3AD203B41FA5}">
                      <a16:colId xmlns:a16="http://schemas.microsoft.com/office/drawing/2014/main" val="4190060241"/>
                    </a:ext>
                  </a:extLst>
                </a:gridCol>
              </a:tblGrid>
              <a:tr h="372898">
                <a:tc>
                  <a:txBody>
                    <a:bodyPr/>
                    <a:lstStyle/>
                    <a:p>
                      <a:pPr algn="ctr"/>
                      <a:endParaRPr lang="en-GB" sz="1000" dirty="0">
                        <a:solidFill>
                          <a:schemeClr val="bg1"/>
                        </a:solidFill>
                      </a:endParaRPr>
                    </a:p>
                    <a:p>
                      <a:pPr algn="ctr"/>
                      <a:r>
                        <a:rPr lang="en-GB" sz="900" dirty="0">
                          <a:solidFill>
                            <a:schemeClr val="bg1"/>
                          </a:solidFill>
                        </a:rPr>
                        <a:t>Channels </a:t>
                      </a:r>
                    </a:p>
                  </a:txBody>
                  <a:tcPr/>
                </a:tc>
                <a:tc>
                  <a:txBody>
                    <a:bodyPr/>
                    <a:lstStyle/>
                    <a:p>
                      <a:pPr algn="ctr"/>
                      <a:r>
                        <a:rPr lang="en-GB" sz="800" dirty="0">
                          <a:solidFill>
                            <a:schemeClr val="bg1"/>
                          </a:solidFill>
                        </a:rPr>
                        <a:t>REVENUE</a:t>
                      </a:r>
                    </a:p>
                    <a:p>
                      <a:pPr algn="ctr"/>
                      <a:r>
                        <a:rPr lang="en-GB" sz="800" dirty="0">
                          <a:solidFill>
                            <a:schemeClr val="bg1"/>
                          </a:solidFill>
                        </a:rPr>
                        <a:t>Contribution $ </a:t>
                      </a:r>
                    </a:p>
                  </a:txBody>
                  <a:tcPr/>
                </a:tc>
                <a:tc>
                  <a:txBody>
                    <a:bodyPr/>
                    <a:lstStyle/>
                    <a:p>
                      <a:pPr algn="ctr"/>
                      <a:r>
                        <a:rPr lang="en-GB" sz="800" dirty="0">
                          <a:solidFill>
                            <a:schemeClr val="bg1"/>
                          </a:solidFill>
                        </a:rPr>
                        <a:t>REVENUE</a:t>
                      </a:r>
                    </a:p>
                    <a:p>
                      <a:pPr algn="ctr"/>
                      <a:r>
                        <a:rPr lang="en-GB" sz="800" dirty="0">
                          <a:solidFill>
                            <a:schemeClr val="bg1"/>
                          </a:solidFill>
                        </a:rPr>
                        <a:t>Contribution $ </a:t>
                      </a:r>
                    </a:p>
                  </a:txBody>
                  <a:tcPr/>
                </a:tc>
                <a:tc>
                  <a:txBody>
                    <a:bodyPr/>
                    <a:lstStyle/>
                    <a:p>
                      <a:pPr algn="ctr"/>
                      <a:r>
                        <a:rPr lang="en-GB" sz="800" dirty="0">
                          <a:solidFill>
                            <a:schemeClr val="bg1"/>
                          </a:solidFill>
                        </a:rPr>
                        <a:t>REVENUE</a:t>
                      </a:r>
                    </a:p>
                    <a:p>
                      <a:pPr algn="ctr"/>
                      <a:r>
                        <a:rPr lang="en-GB" sz="800" dirty="0">
                          <a:solidFill>
                            <a:schemeClr val="bg1"/>
                          </a:solidFill>
                        </a:rPr>
                        <a:t>Contribution $ </a:t>
                      </a:r>
                    </a:p>
                    <a:p>
                      <a:pPr algn="ctr"/>
                      <a:endParaRPr lang="en-GB" sz="800" dirty="0">
                        <a:solidFill>
                          <a:schemeClr val="bg1"/>
                        </a:solidFill>
                      </a:endParaRPr>
                    </a:p>
                  </a:txBody>
                  <a:tcPr/>
                </a:tc>
                <a:tc>
                  <a:txBody>
                    <a:bodyPr/>
                    <a:lstStyle/>
                    <a:p>
                      <a:pPr algn="ctr"/>
                      <a:r>
                        <a:rPr lang="en-GB" sz="900" dirty="0">
                          <a:solidFill>
                            <a:schemeClr val="bg1"/>
                          </a:solidFill>
                        </a:rPr>
                        <a:t>REVENUE  Contribution %</a:t>
                      </a:r>
                    </a:p>
                    <a:p>
                      <a:pPr algn="ctr"/>
                      <a:endParaRPr lang="en-GB" sz="900" dirty="0">
                        <a:solidFill>
                          <a:schemeClr val="bg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rPr>
                        <a:t>REVENUE  Contribution %</a:t>
                      </a:r>
                    </a:p>
                    <a:p>
                      <a:pPr algn="ctr"/>
                      <a:endParaRPr lang="en-GB" sz="900" dirty="0">
                        <a:solidFill>
                          <a:schemeClr val="bg1"/>
                        </a:solidFill>
                      </a:endParaRPr>
                    </a:p>
                  </a:txBody>
                  <a:tcPr/>
                </a:tc>
                <a:tc>
                  <a:txBody>
                    <a:bodyPr/>
                    <a:lstStyle/>
                    <a:p>
                      <a:pPr algn="ctr"/>
                      <a:r>
                        <a:rPr lang="en-GB" sz="900" dirty="0">
                          <a:solidFill>
                            <a:schemeClr val="bg1"/>
                          </a:solidFill>
                        </a:rPr>
                        <a:t>REVENUE  Contribution %</a:t>
                      </a:r>
                    </a:p>
                  </a:txBody>
                  <a:tcPr/>
                </a:tc>
                <a:tc>
                  <a:txBody>
                    <a:bodyPr/>
                    <a:lstStyle/>
                    <a:p>
                      <a:pPr algn="ctr"/>
                      <a:r>
                        <a:rPr lang="en-GB" sz="900" dirty="0">
                          <a:solidFill>
                            <a:schemeClr val="bg1"/>
                          </a:solidFill>
                        </a:rPr>
                        <a:t>TM  Prioritization</a:t>
                      </a:r>
                    </a:p>
                  </a:txBody>
                  <a:tcPr/>
                </a:tc>
                <a:tc>
                  <a:txBody>
                    <a:bodyPr/>
                    <a:lstStyle/>
                    <a:p>
                      <a:pPr algn="ctr"/>
                      <a:endParaRPr lang="en-GB" sz="900" dirty="0">
                        <a:solidFill>
                          <a:schemeClr val="bg1"/>
                        </a:solidFill>
                      </a:endParaRPr>
                    </a:p>
                    <a:p>
                      <a:pPr algn="ctr"/>
                      <a:r>
                        <a:rPr lang="en-GB" sz="900" dirty="0">
                          <a:solidFill>
                            <a:schemeClr val="bg1"/>
                          </a:solidFill>
                        </a:rPr>
                        <a:t>Strategies</a:t>
                      </a:r>
                    </a:p>
                  </a:txBody>
                  <a:tcPr/>
                </a:tc>
                <a:extLst>
                  <a:ext uri="{0D108BD9-81ED-4DB2-BD59-A6C34878D82A}">
                    <a16:rowId xmlns:a16="http://schemas.microsoft.com/office/drawing/2014/main" val="81982691"/>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A</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algn="ctr"/>
                      <a:r>
                        <a:rPr lang="en-GB" sz="800" b="1" i="1" dirty="0">
                          <a:solidFill>
                            <a:schemeClr val="tx1"/>
                          </a:solidFill>
                        </a:rPr>
                        <a:t>Engage &amp; Drive </a:t>
                      </a:r>
                    </a:p>
                  </a:txBody>
                  <a:tcPr>
                    <a:solidFill>
                      <a:schemeClr val="accent6"/>
                    </a:solidFill>
                  </a:tcPr>
                </a:tc>
                <a:tc>
                  <a:txBody>
                    <a:bodyPr/>
                    <a:lstStyle/>
                    <a:p>
                      <a:pPr algn="ctr"/>
                      <a:endParaRPr lang="en-GB" sz="1000" dirty="0">
                        <a:solidFill>
                          <a:schemeClr val="bg1"/>
                        </a:solidFill>
                      </a:endParaRPr>
                    </a:p>
                  </a:txBody>
                  <a:tcPr>
                    <a:solidFill>
                      <a:schemeClr val="bg1">
                        <a:lumMod val="95000"/>
                      </a:schemeClr>
                    </a:solidFill>
                  </a:tcPr>
                </a:tc>
                <a:extLst>
                  <a:ext uri="{0D108BD9-81ED-4DB2-BD59-A6C34878D82A}">
                    <a16:rowId xmlns:a16="http://schemas.microsoft.com/office/drawing/2014/main" val="3073184419"/>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B</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Engage &amp; Drive </a:t>
                      </a:r>
                    </a:p>
                  </a:txBody>
                  <a:tcPr>
                    <a:solidFill>
                      <a:schemeClr val="accent6"/>
                    </a:solidFill>
                  </a:tcPr>
                </a:tc>
                <a:tc>
                  <a:txBody>
                    <a:bodyPr/>
                    <a:lstStyle/>
                    <a:p>
                      <a:pPr algn="ctr"/>
                      <a:endParaRPr lang="en-GB" sz="1000" dirty="0">
                        <a:solidFill>
                          <a:schemeClr val="bg1"/>
                        </a:solidFill>
                      </a:endParaRPr>
                    </a:p>
                  </a:txBody>
                  <a:tcPr>
                    <a:solidFill>
                      <a:schemeClr val="bg1">
                        <a:lumMod val="95000"/>
                      </a:schemeClr>
                    </a:solidFill>
                  </a:tcPr>
                </a:tc>
                <a:extLst>
                  <a:ext uri="{0D108BD9-81ED-4DB2-BD59-A6C34878D82A}">
                    <a16:rowId xmlns:a16="http://schemas.microsoft.com/office/drawing/2014/main" val="816221093"/>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C</a:t>
                      </a:r>
                    </a:p>
                  </a:txBody>
                  <a:tcPr>
                    <a:solidFill>
                      <a:schemeClr val="accent1"/>
                    </a:solidFill>
                  </a:tcPr>
                </a:tc>
                <a:tc>
                  <a:txBody>
                    <a:bodyPr/>
                    <a:lstStyle/>
                    <a:p>
                      <a:endParaRPr lang="en-GB" sz="1200" dirty="0"/>
                    </a:p>
                  </a:txBody>
                  <a:tcPr>
                    <a:solidFill>
                      <a:schemeClr val="bg1">
                        <a:lumMod val="95000"/>
                      </a:schemeClr>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algn="l"/>
                      <a:endParaRPr lang="en-GB" sz="1200" dirty="0">
                        <a:solidFill>
                          <a:schemeClr val="tx1"/>
                        </a:solidFill>
                      </a:endParaRPr>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dirty="0">
                          <a:solidFill>
                            <a:schemeClr val="tx1"/>
                          </a:solidFill>
                          <a:latin typeface="+mn-lt"/>
                          <a:ea typeface="+mn-ea"/>
                          <a:cs typeface="+mn-cs"/>
                        </a:rPr>
                        <a:t>Engage &amp; Maintain</a:t>
                      </a:r>
                    </a:p>
                  </a:txBody>
                  <a:tcPr>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bg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130243688"/>
                  </a:ext>
                </a:extLst>
              </a:tr>
              <a:tr h="2972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D</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kern="1200" dirty="0">
                          <a:solidFill>
                            <a:schemeClr val="tx1"/>
                          </a:solidFill>
                          <a:latin typeface="+mn-lt"/>
                          <a:ea typeface="+mn-ea"/>
                          <a:cs typeface="+mn-cs"/>
                        </a:rPr>
                        <a:t>Engage &amp; Maintain</a:t>
                      </a:r>
                    </a:p>
                  </a:txBody>
                  <a:tcPr>
                    <a:solidFill>
                      <a:schemeClr val="accent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bg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385497981"/>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E</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Monitor &amp; Manage </a:t>
                      </a:r>
                    </a:p>
                  </a:txBody>
                  <a:tcP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dirty="0">
                        <a:solidFill>
                          <a:schemeClr val="bg1"/>
                        </a:solidFill>
                      </a:endParaRPr>
                    </a:p>
                  </a:txBody>
                  <a:tcPr>
                    <a:solidFill>
                      <a:schemeClr val="bg1">
                        <a:lumMod val="95000"/>
                      </a:schemeClr>
                    </a:solidFill>
                  </a:tcPr>
                </a:tc>
                <a:extLst>
                  <a:ext uri="{0D108BD9-81ED-4DB2-BD59-A6C34878D82A}">
                    <a16:rowId xmlns:a16="http://schemas.microsoft.com/office/drawing/2014/main" val="2428912356"/>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F</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Monitor &amp; Manage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i="1" dirty="0">
                        <a:solidFill>
                          <a:schemeClr val="tx1"/>
                        </a:solidFill>
                      </a:endParaRPr>
                    </a:p>
                  </a:txBody>
                  <a:tcP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dirty="0">
                        <a:solidFill>
                          <a:schemeClr val="bg1"/>
                        </a:solidFill>
                      </a:endParaRPr>
                    </a:p>
                  </a:txBody>
                  <a:tcPr>
                    <a:solidFill>
                      <a:schemeClr val="bg1">
                        <a:lumMod val="95000"/>
                      </a:schemeClr>
                    </a:solidFill>
                  </a:tcPr>
                </a:tc>
                <a:extLst>
                  <a:ext uri="{0D108BD9-81ED-4DB2-BD59-A6C34878D82A}">
                    <a16:rowId xmlns:a16="http://schemas.microsoft.com/office/drawing/2014/main" val="1612073081"/>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G</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Monitor &amp; Manage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i="1" dirty="0">
                        <a:solidFill>
                          <a:schemeClr val="tx1"/>
                        </a:solidFill>
                      </a:endParaRPr>
                    </a:p>
                  </a:txBody>
                  <a:tcPr>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dirty="0">
                        <a:solidFill>
                          <a:schemeClr val="bg1"/>
                        </a:solidFill>
                      </a:endParaRPr>
                    </a:p>
                  </a:txBody>
                  <a:tcPr>
                    <a:solidFill>
                      <a:schemeClr val="bg1">
                        <a:lumMod val="95000"/>
                      </a:schemeClr>
                    </a:solidFill>
                  </a:tcPr>
                </a:tc>
                <a:extLst>
                  <a:ext uri="{0D108BD9-81ED-4DB2-BD59-A6C34878D82A}">
                    <a16:rowId xmlns:a16="http://schemas.microsoft.com/office/drawing/2014/main" val="4246901403"/>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H</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Monitor &amp; Manage </a:t>
                      </a:r>
                    </a:p>
                    <a:p>
                      <a:pPr algn="ctr"/>
                      <a:endParaRPr lang="en-GB" sz="800" b="1" i="1" dirty="0">
                        <a:solidFill>
                          <a:schemeClr val="tx1"/>
                        </a:solidFill>
                      </a:endParaRPr>
                    </a:p>
                  </a:txBody>
                  <a:tcPr>
                    <a:solidFill>
                      <a:schemeClr val="accent2"/>
                    </a:solidFill>
                  </a:tcPr>
                </a:tc>
                <a:tc>
                  <a:txBody>
                    <a:bodyPr/>
                    <a:lstStyle/>
                    <a:p>
                      <a:pPr algn="ctr"/>
                      <a:endParaRPr lang="en-GB" sz="1000" dirty="0"/>
                    </a:p>
                  </a:txBody>
                  <a:tcPr>
                    <a:solidFill>
                      <a:schemeClr val="bg1">
                        <a:lumMod val="95000"/>
                      </a:schemeClr>
                    </a:solidFill>
                  </a:tcPr>
                </a:tc>
                <a:extLst>
                  <a:ext uri="{0D108BD9-81ED-4DB2-BD59-A6C34878D82A}">
                    <a16:rowId xmlns:a16="http://schemas.microsoft.com/office/drawing/2014/main" val="1086604594"/>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I</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Monitor &amp; Manage </a:t>
                      </a:r>
                    </a:p>
                    <a:p>
                      <a:pPr algn="ctr"/>
                      <a:endParaRPr lang="en-GB" sz="800" b="1" i="1" dirty="0">
                        <a:solidFill>
                          <a:schemeClr val="tx1"/>
                        </a:solidFill>
                      </a:endParaRPr>
                    </a:p>
                  </a:txBody>
                  <a:tcPr>
                    <a:solidFill>
                      <a:schemeClr val="accent2"/>
                    </a:solidFill>
                  </a:tcPr>
                </a:tc>
                <a:tc>
                  <a:txBody>
                    <a:bodyPr/>
                    <a:lstStyle/>
                    <a:p>
                      <a:pPr algn="ctr"/>
                      <a:endParaRPr lang="en-GB" sz="1000" dirty="0"/>
                    </a:p>
                  </a:txBody>
                  <a:tcPr>
                    <a:solidFill>
                      <a:schemeClr val="bg1">
                        <a:lumMod val="95000"/>
                      </a:schemeClr>
                    </a:solidFill>
                  </a:tcPr>
                </a:tc>
                <a:extLst>
                  <a:ext uri="{0D108BD9-81ED-4DB2-BD59-A6C34878D82A}">
                    <a16:rowId xmlns:a16="http://schemas.microsoft.com/office/drawing/2014/main" val="1942931181"/>
                  </a:ext>
                </a:extLst>
              </a:tr>
              <a:tr h="321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Customer  J</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i="1" dirty="0">
                          <a:solidFill>
                            <a:schemeClr val="tx1"/>
                          </a:solidFill>
                        </a:rPr>
                        <a:t>Monitor &amp; Manage </a:t>
                      </a:r>
                    </a:p>
                    <a:p>
                      <a:pPr algn="ctr"/>
                      <a:endParaRPr lang="en-GB" sz="800" b="1" i="1" dirty="0">
                        <a:solidFill>
                          <a:schemeClr val="tx1"/>
                        </a:solidFill>
                      </a:endParaRPr>
                    </a:p>
                  </a:txBody>
                  <a:tcPr>
                    <a:solidFill>
                      <a:schemeClr val="accent2"/>
                    </a:solidFill>
                  </a:tcPr>
                </a:tc>
                <a:tc>
                  <a:txBody>
                    <a:bodyPr/>
                    <a:lstStyle/>
                    <a:p>
                      <a:pPr algn="ctr"/>
                      <a:endParaRPr lang="en-GB" sz="1000" dirty="0"/>
                    </a:p>
                  </a:txBody>
                  <a:tcPr>
                    <a:solidFill>
                      <a:schemeClr val="bg1">
                        <a:lumMod val="95000"/>
                      </a:schemeClr>
                    </a:solidFill>
                  </a:tcPr>
                </a:tc>
                <a:extLst>
                  <a:ext uri="{0D108BD9-81ED-4DB2-BD59-A6C34878D82A}">
                    <a16:rowId xmlns:a16="http://schemas.microsoft.com/office/drawing/2014/main" val="2490979866"/>
                  </a:ext>
                </a:extLst>
              </a:tr>
              <a:tr h="321544">
                <a:tc>
                  <a:txBody>
                    <a:bodyPr/>
                    <a:lstStyle/>
                    <a:p>
                      <a:r>
                        <a:rPr lang="en-GB" sz="1200" dirty="0">
                          <a:solidFill>
                            <a:schemeClr val="bg1"/>
                          </a:solidFill>
                        </a:rPr>
                        <a:t>Rest </a:t>
                      </a:r>
                    </a:p>
                  </a:txBody>
                  <a:tcPr>
                    <a:solidFill>
                      <a:schemeClr val="accent1"/>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endParaRPr lang="en-GB" sz="1200" dirty="0"/>
                    </a:p>
                  </a:txBody>
                  <a:tcPr>
                    <a:solidFill>
                      <a:schemeClr val="bg1">
                        <a:lumMod val="95000"/>
                      </a:schemeClr>
                    </a:solidFill>
                  </a:tcPr>
                </a:tc>
                <a:tc>
                  <a:txBody>
                    <a:bodyPr/>
                    <a:lstStyle/>
                    <a:p>
                      <a:pPr algn="ctr"/>
                      <a:r>
                        <a:rPr lang="en-GB" sz="800" b="1" i="1" dirty="0">
                          <a:solidFill>
                            <a:schemeClr val="tx1"/>
                          </a:solidFill>
                        </a:rPr>
                        <a:t>Sales Engagement </a:t>
                      </a:r>
                    </a:p>
                  </a:txBody>
                  <a:tcPr>
                    <a:solidFill>
                      <a:schemeClr val="bg1">
                        <a:lumMod val="95000"/>
                      </a:schemeClr>
                    </a:solidFill>
                  </a:tcPr>
                </a:tc>
                <a:tc>
                  <a:txBody>
                    <a:bodyPr/>
                    <a:lstStyle/>
                    <a:p>
                      <a:pPr algn="ctr"/>
                      <a:endParaRPr lang="en-GB" sz="1000" dirty="0"/>
                    </a:p>
                  </a:txBody>
                  <a:tcPr>
                    <a:solidFill>
                      <a:schemeClr val="bg1">
                        <a:lumMod val="95000"/>
                      </a:schemeClr>
                    </a:solidFill>
                  </a:tcPr>
                </a:tc>
                <a:extLst>
                  <a:ext uri="{0D108BD9-81ED-4DB2-BD59-A6C34878D82A}">
                    <a16:rowId xmlns:a16="http://schemas.microsoft.com/office/drawing/2014/main" val="1452815385"/>
                  </a:ext>
                </a:extLst>
              </a:tr>
              <a:tr h="321544">
                <a:tc>
                  <a:txBody>
                    <a:bodyPr/>
                    <a:lstStyle/>
                    <a:p>
                      <a:r>
                        <a:rPr lang="en-GB" sz="1200" b="1" dirty="0">
                          <a:solidFill>
                            <a:schemeClr val="bg1"/>
                          </a:solidFill>
                        </a:rPr>
                        <a:t>Totals </a:t>
                      </a:r>
                    </a:p>
                  </a:txBody>
                  <a:tcPr>
                    <a:solidFill>
                      <a:schemeClr val="accent1"/>
                    </a:solidFill>
                  </a:tcPr>
                </a:tc>
                <a:tc>
                  <a:txBody>
                    <a:bodyPr/>
                    <a:lstStyle/>
                    <a:p>
                      <a:r>
                        <a:rPr lang="en-GB" sz="1200" b="1" dirty="0">
                          <a:solidFill>
                            <a:schemeClr val="bg1"/>
                          </a:solidFill>
                        </a:rPr>
                        <a:t>US $</a:t>
                      </a:r>
                    </a:p>
                  </a:txBody>
                  <a:tcPr>
                    <a:solidFill>
                      <a:schemeClr val="accent1"/>
                    </a:solidFill>
                  </a:tcPr>
                </a:tc>
                <a:tc>
                  <a:txBody>
                    <a:bodyPr/>
                    <a:lstStyle/>
                    <a:p>
                      <a:r>
                        <a:rPr lang="en-GB" sz="1200" b="1" dirty="0">
                          <a:solidFill>
                            <a:schemeClr val="bg1"/>
                          </a:solidFill>
                        </a:rPr>
                        <a:t>100%</a:t>
                      </a:r>
                    </a:p>
                  </a:txBody>
                  <a:tcPr>
                    <a:solidFill>
                      <a:schemeClr val="accent1"/>
                    </a:solidFill>
                  </a:tcPr>
                </a:tc>
                <a:tc>
                  <a:txBody>
                    <a:bodyPr/>
                    <a:lstStyle/>
                    <a:p>
                      <a:r>
                        <a:rPr lang="en-GB" sz="1200" b="1" dirty="0">
                          <a:solidFill>
                            <a:schemeClr val="bg1"/>
                          </a:solidFill>
                        </a:rPr>
                        <a:t>US$</a:t>
                      </a:r>
                    </a:p>
                  </a:txBody>
                  <a:tcPr>
                    <a:solidFill>
                      <a:schemeClr val="accent1"/>
                    </a:solidFill>
                  </a:tcPr>
                </a:tc>
                <a:tc>
                  <a:txBody>
                    <a:bodyPr/>
                    <a:lstStyle/>
                    <a:p>
                      <a:endParaRPr lang="en-GB" sz="1200" b="1" dirty="0">
                        <a:solidFill>
                          <a:schemeClr val="bg1"/>
                        </a:solidFill>
                      </a:endParaRPr>
                    </a:p>
                  </a:txBody>
                  <a:tcPr>
                    <a:solidFill>
                      <a:schemeClr val="accent1"/>
                    </a:solidFill>
                  </a:tcPr>
                </a:tc>
                <a:tc>
                  <a:txBody>
                    <a:bodyPr/>
                    <a:lstStyle/>
                    <a:p>
                      <a:endParaRPr lang="en-GB" sz="1200" b="1" dirty="0">
                        <a:solidFill>
                          <a:schemeClr val="bg1"/>
                        </a:solidFill>
                      </a:endParaRPr>
                    </a:p>
                  </a:txBody>
                  <a:tcPr>
                    <a:solidFill>
                      <a:schemeClr val="accent1"/>
                    </a:solidFill>
                  </a:tcPr>
                </a:tc>
                <a:tc>
                  <a:txBody>
                    <a:bodyPr/>
                    <a:lstStyle/>
                    <a:p>
                      <a:r>
                        <a:rPr lang="en-GB" sz="1200" b="1" dirty="0">
                          <a:solidFill>
                            <a:schemeClr val="bg1"/>
                          </a:solidFill>
                        </a:rPr>
                        <a:t>100%</a:t>
                      </a:r>
                    </a:p>
                  </a:txBody>
                  <a:tcPr>
                    <a:solidFill>
                      <a:schemeClr val="accent1"/>
                    </a:solidFill>
                  </a:tcPr>
                </a:tc>
                <a:tc>
                  <a:txBody>
                    <a:bodyPr/>
                    <a:lstStyle/>
                    <a:p>
                      <a:pPr algn="ctr"/>
                      <a:endParaRPr lang="en-GB" sz="1000" dirty="0"/>
                    </a:p>
                  </a:txBody>
                  <a:tcPr>
                    <a:solidFill>
                      <a:schemeClr val="bg1"/>
                    </a:solidFill>
                  </a:tcPr>
                </a:tc>
                <a:tc>
                  <a:txBody>
                    <a:bodyPr/>
                    <a:lstStyle/>
                    <a:p>
                      <a:pPr algn="ctr"/>
                      <a:endParaRPr lang="en-GB" sz="1000" dirty="0"/>
                    </a:p>
                  </a:txBody>
                  <a:tcPr>
                    <a:solidFill>
                      <a:schemeClr val="bg1"/>
                    </a:solidFill>
                  </a:tcPr>
                </a:tc>
                <a:extLst>
                  <a:ext uri="{0D108BD9-81ED-4DB2-BD59-A6C34878D82A}">
                    <a16:rowId xmlns:a16="http://schemas.microsoft.com/office/drawing/2014/main" val="1678758876"/>
                  </a:ext>
                </a:extLst>
              </a:tr>
            </a:tbl>
          </a:graphicData>
        </a:graphic>
      </p:graphicFrame>
    </p:spTree>
    <p:extLst>
      <p:ext uri="{BB962C8B-B14F-4D97-AF65-F5344CB8AC3E}">
        <p14:creationId xmlns:p14="http://schemas.microsoft.com/office/powerpoint/2010/main" val="8793307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1B2B2635-462E-4D96-875D-B3F350584D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09024" y="199287"/>
            <a:ext cx="1601128" cy="372663"/>
          </a:xfrm>
          <a:prstGeom prst="rect">
            <a:avLst/>
          </a:prstGeom>
        </p:spPr>
      </p:pic>
      <p:sp>
        <p:nvSpPr>
          <p:cNvPr id="3" name="TextBox 2">
            <a:extLst>
              <a:ext uri="{FF2B5EF4-FFF2-40B4-BE49-F238E27FC236}">
                <a16:creationId xmlns:a16="http://schemas.microsoft.com/office/drawing/2014/main" id="{A0335EFE-6C4D-B8A4-CED4-4E3BB4BD9375}"/>
              </a:ext>
            </a:extLst>
          </p:cNvPr>
          <p:cNvSpPr txBox="1"/>
          <p:nvPr/>
        </p:nvSpPr>
        <p:spPr>
          <a:xfrm>
            <a:off x="116542" y="7449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Analysis</a:t>
            </a:r>
          </a:p>
        </p:txBody>
      </p:sp>
      <p:graphicFrame>
        <p:nvGraphicFramePr>
          <p:cNvPr id="4" name="Table 5">
            <a:extLst>
              <a:ext uri="{FF2B5EF4-FFF2-40B4-BE49-F238E27FC236}">
                <a16:creationId xmlns:a16="http://schemas.microsoft.com/office/drawing/2014/main" id="{C207D49A-AF14-8AC6-FCA3-D731D252A944}"/>
              </a:ext>
            </a:extLst>
          </p:cNvPr>
          <p:cNvGraphicFramePr>
            <a:graphicFrameLocks noGrp="1"/>
          </p:cNvGraphicFramePr>
          <p:nvPr>
            <p:extLst>
              <p:ext uri="{D42A27DB-BD31-4B8C-83A1-F6EECF244321}">
                <p14:modId xmlns:p14="http://schemas.microsoft.com/office/powerpoint/2010/main" val="3035482588"/>
              </p:ext>
            </p:extLst>
          </p:nvPr>
        </p:nvGraphicFramePr>
        <p:xfrm>
          <a:off x="374650" y="1258392"/>
          <a:ext cx="11442700" cy="4643015"/>
        </p:xfrm>
        <a:graphic>
          <a:graphicData uri="http://schemas.openxmlformats.org/drawingml/2006/table">
            <a:tbl>
              <a:tblPr firstRow="1" bandRow="1">
                <a:tableStyleId>{5C22544A-7EE6-4342-B048-85BDC9FD1C3A}</a:tableStyleId>
              </a:tblPr>
              <a:tblGrid>
                <a:gridCol w="2860675">
                  <a:extLst>
                    <a:ext uri="{9D8B030D-6E8A-4147-A177-3AD203B41FA5}">
                      <a16:colId xmlns:a16="http://schemas.microsoft.com/office/drawing/2014/main" val="2184548553"/>
                    </a:ext>
                  </a:extLst>
                </a:gridCol>
                <a:gridCol w="2860675">
                  <a:extLst>
                    <a:ext uri="{9D8B030D-6E8A-4147-A177-3AD203B41FA5}">
                      <a16:colId xmlns:a16="http://schemas.microsoft.com/office/drawing/2014/main" val="1738853937"/>
                    </a:ext>
                  </a:extLst>
                </a:gridCol>
                <a:gridCol w="2860675">
                  <a:extLst>
                    <a:ext uri="{9D8B030D-6E8A-4147-A177-3AD203B41FA5}">
                      <a16:colId xmlns:a16="http://schemas.microsoft.com/office/drawing/2014/main" val="2337464591"/>
                    </a:ext>
                  </a:extLst>
                </a:gridCol>
                <a:gridCol w="2860675">
                  <a:extLst>
                    <a:ext uri="{9D8B030D-6E8A-4147-A177-3AD203B41FA5}">
                      <a16:colId xmlns:a16="http://schemas.microsoft.com/office/drawing/2014/main" val="1299096974"/>
                    </a:ext>
                  </a:extLst>
                </a:gridCol>
              </a:tblGrid>
              <a:tr h="1015895">
                <a:tc gridSpan="4">
                  <a:txBody>
                    <a:bodyPr/>
                    <a:lstStyle/>
                    <a:p>
                      <a:pPr algn="ctr"/>
                      <a:r>
                        <a:rPr lang="en-GB" sz="1800" dirty="0">
                          <a:solidFill>
                            <a:srgbClr val="FF0000"/>
                          </a:solidFill>
                          <a:latin typeface="Lato Light" panose="020F0502020204030203"/>
                        </a:rPr>
                        <a:t>Competitive Analysis </a:t>
                      </a:r>
                    </a:p>
                    <a:p>
                      <a:pPr algn="ctr"/>
                      <a:r>
                        <a:rPr lang="en-GB" sz="1400" b="0" dirty="0">
                          <a:latin typeface="Lato Light" panose="020F0502020204030203"/>
                        </a:rPr>
                        <a:t>To establish the competitive landscape and competitive forces arrayed in a way it can be understood logically and strategically.</a:t>
                      </a:r>
                    </a:p>
                  </a:txBody>
                  <a:tcPr>
                    <a:solidFill>
                      <a:srgbClr val="0091B5"/>
                    </a:solidFill>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271899714"/>
                  </a:ext>
                </a:extLst>
              </a:tr>
              <a:tr h="1076824">
                <a:tc>
                  <a:txBody>
                    <a:bodyPr/>
                    <a:lstStyle/>
                    <a:p>
                      <a:pPr algn="ctr"/>
                      <a:endParaRPr lang="en-GB" sz="1600" b="1" dirty="0">
                        <a:solidFill>
                          <a:srgbClr val="FF0000"/>
                        </a:solidFill>
                        <a:latin typeface="Lato Light" panose="020F0502020204030203"/>
                      </a:endParaRPr>
                    </a:p>
                    <a:p>
                      <a:pPr algn="ctr"/>
                      <a:endParaRPr lang="en-GB" sz="1600" b="1" dirty="0">
                        <a:solidFill>
                          <a:srgbClr val="FF0000"/>
                        </a:solidFill>
                        <a:latin typeface="Lato Light" panose="020F0502020204030203"/>
                      </a:endParaRPr>
                    </a:p>
                    <a:p>
                      <a:pPr algn="ctr"/>
                      <a:r>
                        <a:rPr lang="en-GB" sz="1600" b="1" dirty="0">
                          <a:solidFill>
                            <a:srgbClr val="FF0000"/>
                          </a:solidFill>
                          <a:latin typeface="Lato Light" panose="020F0502020204030203"/>
                        </a:rPr>
                        <a:t>Public Domain </a:t>
                      </a:r>
                    </a:p>
                    <a:p>
                      <a:pPr algn="ctr"/>
                      <a:endParaRPr lang="en-GB" sz="1600" dirty="0">
                        <a:latin typeface="Lato Light" panose="020F0502020204030203"/>
                      </a:endParaRP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1 </a:t>
                      </a:r>
                    </a:p>
                    <a:p>
                      <a:pPr algn="ctr"/>
                      <a:r>
                        <a:rPr lang="en-GB" sz="1200" b="1" u="sng" dirty="0">
                          <a:latin typeface="Lato Light" panose="020F0502020204030203"/>
                        </a:rPr>
                        <a:t>Company description</a:t>
                      </a:r>
                    </a:p>
                    <a:p>
                      <a:pPr algn="ctr"/>
                      <a:r>
                        <a:rPr lang="en-GB" sz="1200" b="0" kern="1200" dirty="0">
                          <a:solidFill>
                            <a:schemeClr val="accent1">
                              <a:lumMod val="50000"/>
                            </a:schemeClr>
                          </a:solidFill>
                          <a:latin typeface="Lato Light" panose="020F0502020204030203"/>
                          <a:ea typeface="+mn-ea"/>
                          <a:cs typeface="+mn-cs"/>
                        </a:rPr>
                        <a:t>Demographics , Size and Locations  </a:t>
                      </a: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2 </a:t>
                      </a:r>
                    </a:p>
                    <a:p>
                      <a:pPr marL="0" algn="ctr" defTabSz="914400" rtl="0" eaLnBrk="1" latinLnBrk="0" hangingPunct="1"/>
                      <a:r>
                        <a:rPr lang="en-GB" sz="1200" b="1" u="sng" kern="1200" dirty="0">
                          <a:solidFill>
                            <a:schemeClr val="tx1"/>
                          </a:solidFill>
                          <a:latin typeface="Lato Light" panose="020F0502020204030203"/>
                          <a:ea typeface="+mn-ea"/>
                          <a:cs typeface="+mn-cs"/>
                        </a:rPr>
                        <a:t>Summary of key management</a:t>
                      </a:r>
                    </a:p>
                    <a:p>
                      <a:pPr marL="0" algn="ctr" defTabSz="914400" rtl="0" eaLnBrk="1" latinLnBrk="0" hangingPunct="1"/>
                      <a:r>
                        <a:rPr lang="en-GB" sz="1200" b="0" kern="1200" dirty="0">
                          <a:solidFill>
                            <a:schemeClr val="accent1">
                              <a:lumMod val="50000"/>
                            </a:schemeClr>
                          </a:solidFill>
                          <a:latin typeface="Lato Light" panose="020F0502020204030203"/>
                          <a:ea typeface="+mn-ea"/>
                          <a:cs typeface="+mn-cs"/>
                        </a:rPr>
                        <a:t>Identify the management structure and their strengths , this will be an indicator of past successes and possible future alignments </a:t>
                      </a: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3 </a:t>
                      </a:r>
                    </a:p>
                    <a:p>
                      <a:pPr marL="0" algn="ctr" defTabSz="914400" rtl="0" eaLnBrk="1" latinLnBrk="0" hangingPunct="1"/>
                      <a:r>
                        <a:rPr lang="en-GB" sz="1200" b="1" u="sng" kern="1200" dirty="0">
                          <a:solidFill>
                            <a:schemeClr val="tx1"/>
                          </a:solidFill>
                          <a:latin typeface="Lato Light" panose="020F0502020204030203"/>
                          <a:ea typeface="+mn-ea"/>
                          <a:cs typeface="+mn-cs"/>
                        </a:rPr>
                        <a:t>Financials </a:t>
                      </a:r>
                    </a:p>
                    <a:p>
                      <a:pPr marL="0" algn="ctr" defTabSz="914400" rtl="0" eaLnBrk="1" latinLnBrk="0" hangingPunct="1"/>
                      <a:r>
                        <a:rPr lang="en-GB" sz="1200" b="0" kern="1200" dirty="0">
                          <a:solidFill>
                            <a:schemeClr val="accent1">
                              <a:lumMod val="50000"/>
                            </a:schemeClr>
                          </a:solidFill>
                          <a:latin typeface="Lato Light" panose="020F0502020204030203"/>
                          <a:ea typeface="+mn-ea"/>
                          <a:cs typeface="+mn-cs"/>
                        </a:rPr>
                        <a:t>Publicly available financials preferably trended over a period </a:t>
                      </a:r>
                    </a:p>
                  </a:txBody>
                  <a:tcPr>
                    <a:solidFill>
                      <a:schemeClr val="bg1">
                        <a:lumMod val="85000"/>
                      </a:schemeClr>
                    </a:solidFill>
                  </a:tcPr>
                </a:tc>
                <a:extLst>
                  <a:ext uri="{0D108BD9-81ED-4DB2-BD59-A6C34878D82A}">
                    <a16:rowId xmlns:a16="http://schemas.microsoft.com/office/drawing/2014/main" val="4263148595"/>
                  </a:ext>
                </a:extLst>
              </a:tr>
              <a:tr h="848224">
                <a:tc>
                  <a:txBody>
                    <a:bodyPr/>
                    <a:lstStyle/>
                    <a:p>
                      <a:pPr algn="ctr"/>
                      <a:endParaRPr lang="en-GB" sz="1600" b="1" dirty="0">
                        <a:solidFill>
                          <a:srgbClr val="FF0000"/>
                        </a:solidFill>
                        <a:latin typeface="Lato Light" panose="020F0502020204030203"/>
                      </a:endParaRPr>
                    </a:p>
                    <a:p>
                      <a:pPr algn="ctr"/>
                      <a:endParaRPr lang="en-GB" sz="1600" b="1" dirty="0">
                        <a:solidFill>
                          <a:srgbClr val="FF0000"/>
                        </a:solidFill>
                        <a:latin typeface="Lato Light" panose="020F0502020204030203"/>
                      </a:endParaRPr>
                    </a:p>
                    <a:p>
                      <a:pPr algn="ctr"/>
                      <a:r>
                        <a:rPr lang="en-GB" sz="1600" b="1" dirty="0">
                          <a:solidFill>
                            <a:srgbClr val="FF0000"/>
                          </a:solidFill>
                          <a:latin typeface="Lato Light" panose="020F0502020204030203"/>
                        </a:rPr>
                        <a:t>Evaluation  </a:t>
                      </a:r>
                    </a:p>
                    <a:p>
                      <a:pPr algn="ctr"/>
                      <a:endParaRPr lang="en-GB" sz="1600" dirty="0">
                        <a:latin typeface="Lato Light" panose="020F0502020204030203"/>
                      </a:endParaRP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5 </a:t>
                      </a:r>
                    </a:p>
                    <a:p>
                      <a:pPr marL="0" algn="ctr" defTabSz="914400" rtl="0" eaLnBrk="1" latinLnBrk="0" hangingPunct="1"/>
                      <a:r>
                        <a:rPr lang="en-GB" sz="1200" b="1" u="sng" kern="1200" dirty="0">
                          <a:solidFill>
                            <a:schemeClr val="accent1">
                              <a:lumMod val="50000"/>
                            </a:schemeClr>
                          </a:solidFill>
                          <a:latin typeface="Lato Light" panose="020F0502020204030203"/>
                          <a:ea typeface="+mn-ea"/>
                          <a:cs typeface="+mn-cs"/>
                        </a:rPr>
                        <a:t>Product / Services </a:t>
                      </a:r>
                    </a:p>
                    <a:p>
                      <a:pPr marL="0" algn="ctr" defTabSz="914400" rtl="0" eaLnBrk="1" latinLnBrk="0" hangingPunct="1"/>
                      <a:r>
                        <a:rPr lang="en-GB" sz="1200" b="0" kern="1200" dirty="0">
                          <a:solidFill>
                            <a:schemeClr val="accent1">
                              <a:lumMod val="50000"/>
                            </a:schemeClr>
                          </a:solidFill>
                          <a:latin typeface="Lato Light" panose="020F0502020204030203"/>
                          <a:ea typeface="+mn-ea"/>
                          <a:cs typeface="+mn-cs"/>
                        </a:rPr>
                        <a:t>Rank the key attributes and rank them for objectivity</a:t>
                      </a:r>
                      <a:endParaRPr lang="en-GB" sz="1200" dirty="0">
                        <a:latin typeface="Lato Light" panose="020F0502020204030203"/>
                      </a:endParaRP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5</a:t>
                      </a:r>
                    </a:p>
                    <a:p>
                      <a:pPr marL="0" algn="ctr" defTabSz="914400" rtl="0" eaLnBrk="1" latinLnBrk="0" hangingPunct="1"/>
                      <a:r>
                        <a:rPr lang="en-GB" sz="1200" b="1" u="sng" kern="1200" dirty="0">
                          <a:solidFill>
                            <a:schemeClr val="accent1">
                              <a:lumMod val="50000"/>
                            </a:schemeClr>
                          </a:solidFill>
                          <a:latin typeface="Lato Light" panose="020F0502020204030203"/>
                          <a:ea typeface="+mn-ea"/>
                          <a:cs typeface="+mn-cs"/>
                        </a:rPr>
                        <a:t>Strategy ( Sales &amp; Marketing ) </a:t>
                      </a:r>
                      <a:r>
                        <a:rPr lang="en-GB" sz="1200" b="0" kern="1200" dirty="0">
                          <a:solidFill>
                            <a:schemeClr val="accent1">
                              <a:lumMod val="50000"/>
                            </a:schemeClr>
                          </a:solidFill>
                          <a:latin typeface="Lato Light" panose="020F0502020204030203"/>
                          <a:ea typeface="+mn-ea"/>
                          <a:cs typeface="+mn-cs"/>
                        </a:rPr>
                        <a:t>brand positioning consistently along identified drivers </a:t>
                      </a:r>
                      <a:endParaRPr lang="en-GB" sz="1200" dirty="0">
                        <a:latin typeface="Lato Light" panose="020F0502020204030203"/>
                      </a:endParaRP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6 </a:t>
                      </a:r>
                    </a:p>
                    <a:p>
                      <a:pPr marL="0" algn="ctr" defTabSz="914400" rtl="0" eaLnBrk="1" latinLnBrk="0" hangingPunct="1"/>
                      <a:r>
                        <a:rPr lang="en-GB" sz="1200" b="1" u="sng" kern="1200" dirty="0">
                          <a:solidFill>
                            <a:schemeClr val="accent1">
                              <a:lumMod val="50000"/>
                            </a:schemeClr>
                          </a:solidFill>
                          <a:latin typeface="Lato Light" panose="020F0502020204030203"/>
                          <a:ea typeface="+mn-ea"/>
                          <a:cs typeface="+mn-cs"/>
                        </a:rPr>
                        <a:t>Positioning analysis </a:t>
                      </a:r>
                    </a:p>
                    <a:p>
                      <a:pPr marL="0" algn="ctr" defTabSz="914400" rtl="0" eaLnBrk="1" latinLnBrk="0" hangingPunct="1"/>
                      <a:r>
                        <a:rPr lang="en-GB" sz="1200" b="0" u="none" kern="1200" dirty="0">
                          <a:solidFill>
                            <a:schemeClr val="accent1">
                              <a:lumMod val="50000"/>
                            </a:schemeClr>
                          </a:solidFill>
                          <a:latin typeface="Lato Light" panose="020F0502020204030203"/>
                          <a:ea typeface="+mn-ea"/>
                          <a:cs typeface="+mn-cs"/>
                        </a:rPr>
                        <a:t>Stress of key areas of differentiation where you measure or state the uniqueness exists</a:t>
                      </a:r>
                      <a:endParaRPr lang="en-GB" sz="1200" b="0" u="none" dirty="0">
                        <a:latin typeface="Lato Light" panose="020F0502020204030203"/>
                      </a:endParaRPr>
                    </a:p>
                  </a:txBody>
                  <a:tcPr>
                    <a:solidFill>
                      <a:schemeClr val="bg1">
                        <a:lumMod val="85000"/>
                      </a:schemeClr>
                    </a:solidFill>
                  </a:tcPr>
                </a:tc>
                <a:extLst>
                  <a:ext uri="{0D108BD9-81ED-4DB2-BD59-A6C34878D82A}">
                    <a16:rowId xmlns:a16="http://schemas.microsoft.com/office/drawing/2014/main" val="1884081402"/>
                  </a:ext>
                </a:extLst>
              </a:tr>
              <a:tr h="1076824">
                <a:tc>
                  <a:txBody>
                    <a:bodyPr/>
                    <a:lstStyle/>
                    <a:p>
                      <a:pPr algn="ctr"/>
                      <a:endParaRPr lang="en-GB" sz="1600" b="1" dirty="0">
                        <a:solidFill>
                          <a:srgbClr val="FF0000"/>
                        </a:solidFill>
                        <a:latin typeface="Lato Light" panose="020F0502020204030203"/>
                      </a:endParaRPr>
                    </a:p>
                    <a:p>
                      <a:pPr algn="ctr"/>
                      <a:endParaRPr lang="en-GB" sz="1600" b="1" dirty="0">
                        <a:solidFill>
                          <a:srgbClr val="FF0000"/>
                        </a:solidFill>
                        <a:latin typeface="Lato Light" panose="020F0502020204030203"/>
                      </a:endParaRPr>
                    </a:p>
                    <a:p>
                      <a:pPr algn="ctr"/>
                      <a:r>
                        <a:rPr lang="en-GB" sz="1600" b="1" dirty="0">
                          <a:solidFill>
                            <a:srgbClr val="FF0000"/>
                          </a:solidFill>
                          <a:latin typeface="Lato Light" panose="020F0502020204030203"/>
                        </a:rPr>
                        <a:t>Estimation </a:t>
                      </a:r>
                    </a:p>
                    <a:p>
                      <a:pPr algn="ctr"/>
                      <a:endParaRPr lang="en-GB" sz="1600" dirty="0">
                        <a:latin typeface="Lato Light" panose="020F0502020204030203"/>
                      </a:endParaRP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7 </a:t>
                      </a:r>
                    </a:p>
                    <a:p>
                      <a:pPr marL="0" algn="ctr" defTabSz="914400" rtl="0" eaLnBrk="1" latinLnBrk="0" hangingPunct="1"/>
                      <a:r>
                        <a:rPr lang="en-GB" sz="1200" b="1" u="sng" kern="1200" dirty="0">
                          <a:solidFill>
                            <a:schemeClr val="accent1">
                              <a:lumMod val="50000"/>
                            </a:schemeClr>
                          </a:solidFill>
                          <a:latin typeface="Lato Light" panose="020F0502020204030203"/>
                          <a:ea typeface="+mn-ea"/>
                          <a:cs typeface="+mn-cs"/>
                        </a:rPr>
                        <a:t>Threats </a:t>
                      </a:r>
                    </a:p>
                    <a:p>
                      <a:pPr marL="0" algn="ctr" defTabSz="914400" rtl="0" eaLnBrk="1" latinLnBrk="0" hangingPunct="1"/>
                      <a:r>
                        <a:rPr lang="en-GB" sz="1200" b="0" kern="1200" dirty="0">
                          <a:solidFill>
                            <a:schemeClr val="accent1">
                              <a:lumMod val="50000"/>
                            </a:schemeClr>
                          </a:solidFill>
                          <a:latin typeface="Lato Light" panose="020F0502020204030203"/>
                          <a:ea typeface="+mn-ea"/>
                          <a:cs typeface="+mn-cs"/>
                        </a:rPr>
                        <a:t>Look at threats both as short terms and long term , establish threats across a variety of drivers/attributes </a:t>
                      </a:r>
                      <a:endParaRPr lang="en-GB" sz="1200" dirty="0">
                        <a:latin typeface="Lato Light" panose="020F0502020204030203"/>
                      </a:endParaRPr>
                    </a:p>
                  </a:txBody>
                  <a:tcPr>
                    <a:solidFill>
                      <a:schemeClr val="bg1">
                        <a:lumMod val="85000"/>
                      </a:schemeClr>
                    </a:solidFill>
                  </a:tcPr>
                </a:tc>
                <a:tc>
                  <a:txBody>
                    <a:bodyPr/>
                    <a:lstStyle/>
                    <a:p>
                      <a:pPr algn="ctr"/>
                      <a:r>
                        <a:rPr lang="en-GB" sz="1200" b="1" dirty="0">
                          <a:solidFill>
                            <a:srgbClr val="FF0000"/>
                          </a:solidFill>
                          <a:latin typeface="Lato Light" panose="020F0502020204030203"/>
                        </a:rPr>
                        <a:t>Step 8 </a:t>
                      </a:r>
                    </a:p>
                    <a:p>
                      <a:pPr marL="0" algn="ctr" defTabSz="914400" rtl="0" eaLnBrk="1" latinLnBrk="0" hangingPunct="1"/>
                      <a:r>
                        <a:rPr lang="en-GB" sz="1200" b="1" u="sng" kern="1200" dirty="0">
                          <a:solidFill>
                            <a:schemeClr val="accent1">
                              <a:lumMod val="50000"/>
                            </a:schemeClr>
                          </a:solidFill>
                          <a:latin typeface="Lato Light" panose="020F0502020204030203"/>
                          <a:ea typeface="+mn-ea"/>
                          <a:cs typeface="+mn-cs"/>
                        </a:rPr>
                        <a:t>Opportunities  </a:t>
                      </a:r>
                    </a:p>
                    <a:p>
                      <a:pPr marL="0" algn="ctr" defTabSz="914400" rtl="0" eaLnBrk="1" latinLnBrk="0" hangingPunct="1"/>
                      <a:r>
                        <a:rPr lang="en-GB" sz="1200" b="0" u="none" kern="1200" dirty="0">
                          <a:solidFill>
                            <a:schemeClr val="accent1">
                              <a:lumMod val="50000"/>
                            </a:schemeClr>
                          </a:solidFill>
                          <a:latin typeface="Lato Light" panose="020F0502020204030203"/>
                          <a:ea typeface="+mn-ea"/>
                          <a:cs typeface="+mn-cs"/>
                        </a:rPr>
                        <a:t>The opportunities exist externally and internally, the external ones represent direct revenue the internal ones reflection.</a:t>
                      </a:r>
                    </a:p>
                    <a:p>
                      <a:pPr algn="ctr"/>
                      <a:endParaRPr lang="en-GB" sz="1200" dirty="0">
                        <a:latin typeface="Lato Light" panose="020F0502020204030203"/>
                      </a:endParaRPr>
                    </a:p>
                  </a:txBody>
                  <a:tcPr>
                    <a:solidFill>
                      <a:schemeClr val="bg1">
                        <a:lumMod val="85000"/>
                      </a:schemeClr>
                    </a:solidFill>
                  </a:tcPr>
                </a:tc>
                <a:tc>
                  <a:txBody>
                    <a:bodyPr/>
                    <a:lstStyle/>
                    <a:p>
                      <a:pPr marL="0" algn="ctr" defTabSz="914400" rtl="0" eaLnBrk="1" latinLnBrk="0" hangingPunct="1"/>
                      <a:endParaRPr lang="en-GB" sz="1200" b="0" u="none" kern="1200" dirty="0">
                        <a:solidFill>
                          <a:schemeClr val="accent1">
                            <a:lumMod val="50000"/>
                          </a:schemeClr>
                        </a:solidFill>
                        <a:latin typeface="Lato Light" panose="020F0502020204030203"/>
                        <a:ea typeface="+mn-ea"/>
                        <a:cs typeface="+mn-cs"/>
                      </a:endParaRPr>
                    </a:p>
                    <a:p>
                      <a:pPr algn="ctr"/>
                      <a:endParaRPr lang="en-GB" sz="1200" dirty="0">
                        <a:latin typeface="Lato Light" panose="020F0502020204030203"/>
                      </a:endParaRPr>
                    </a:p>
                  </a:txBody>
                  <a:tcPr>
                    <a:solidFill>
                      <a:schemeClr val="bg1">
                        <a:lumMod val="85000"/>
                      </a:schemeClr>
                    </a:solidFill>
                  </a:tcPr>
                </a:tc>
                <a:extLst>
                  <a:ext uri="{0D108BD9-81ED-4DB2-BD59-A6C34878D82A}">
                    <a16:rowId xmlns:a16="http://schemas.microsoft.com/office/drawing/2014/main" val="2656081591"/>
                  </a:ext>
                </a:extLst>
              </a:tr>
            </a:tbl>
          </a:graphicData>
        </a:graphic>
      </p:graphicFrame>
      <p:sp>
        <p:nvSpPr>
          <p:cNvPr id="2" name="TextBox 1">
            <a:extLst>
              <a:ext uri="{FF2B5EF4-FFF2-40B4-BE49-F238E27FC236}">
                <a16:creationId xmlns:a16="http://schemas.microsoft.com/office/drawing/2014/main" id="{E04BBC1D-EC35-1059-BA71-CDD22F90CB1E}"/>
              </a:ext>
            </a:extLst>
          </p:cNvPr>
          <p:cNvSpPr txBox="1"/>
          <p:nvPr/>
        </p:nvSpPr>
        <p:spPr>
          <a:xfrm>
            <a:off x="932329" y="6230471"/>
            <a:ext cx="10219765" cy="215444"/>
          </a:xfrm>
          <a:prstGeom prst="rect">
            <a:avLst/>
          </a:prstGeom>
          <a:solidFill>
            <a:schemeClr val="accent5">
              <a:lumMod val="40000"/>
              <a:lumOff val="60000"/>
            </a:schemeClr>
          </a:solidFill>
        </p:spPr>
        <p:txBody>
          <a:bodyPr wrap="square" rtlCol="0">
            <a:spAutoFit/>
          </a:bodyPr>
          <a:lstStyle/>
          <a:p>
            <a:r>
              <a:rPr lang="en-GB" sz="800" b="1" dirty="0"/>
              <a:t>Guiding comments </a:t>
            </a:r>
            <a:r>
              <a:rPr lang="en-GB" sz="800" dirty="0"/>
              <a:t>:  </a:t>
            </a:r>
            <a:r>
              <a:rPr lang="en-GB" sz="800" i="1" dirty="0"/>
              <a:t>Add comments here that will provide a high-level support to your key opportunities , break them down to guide stakeholder engagement.</a:t>
            </a:r>
          </a:p>
        </p:txBody>
      </p:sp>
    </p:spTree>
    <p:extLst>
      <p:ext uri="{BB962C8B-B14F-4D97-AF65-F5344CB8AC3E}">
        <p14:creationId xmlns:p14="http://schemas.microsoft.com/office/powerpoint/2010/main" val="15123997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77">
            <a:extLst>
              <a:ext uri="{FF2B5EF4-FFF2-40B4-BE49-F238E27FC236}">
                <a16:creationId xmlns:a16="http://schemas.microsoft.com/office/drawing/2014/main" id="{4170A73A-5244-49BF-886D-82D4FFFFF501}"/>
              </a:ext>
            </a:extLst>
          </p:cNvPr>
          <p:cNvGrpSpPr/>
          <p:nvPr/>
        </p:nvGrpSpPr>
        <p:grpSpPr>
          <a:xfrm>
            <a:off x="324205" y="3402664"/>
            <a:ext cx="1477380" cy="663188"/>
            <a:chOff x="7549376" y="228600"/>
            <a:chExt cx="1477380" cy="663188"/>
          </a:xfrm>
        </p:grpSpPr>
        <p:sp>
          <p:nvSpPr>
            <p:cNvPr id="10" name="Rectangle 87">
              <a:extLst>
                <a:ext uri="{FF2B5EF4-FFF2-40B4-BE49-F238E27FC236}">
                  <a16:creationId xmlns:a16="http://schemas.microsoft.com/office/drawing/2014/main" id="{BD1A52B7-A362-41E3-9906-5C725DE00CC8}"/>
                </a:ext>
              </a:extLst>
            </p:cNvPr>
            <p:cNvSpPr>
              <a:spLocks noChangeArrowheads="1"/>
            </p:cNvSpPr>
            <p:nvPr>
              <p:custDataLst>
                <p:tags r:id="rId1"/>
              </p:custDataLst>
            </p:nvPr>
          </p:nvSpPr>
          <p:spPr bwMode="gray">
            <a:xfrm>
              <a:off x="7866294" y="228600"/>
              <a:ext cx="1100137" cy="138499"/>
            </a:xfrm>
            <a:prstGeom prst="rect">
              <a:avLst/>
            </a:prstGeom>
            <a:noFill/>
            <a:ln w="9525">
              <a:noFill/>
              <a:miter lim="800000"/>
              <a:headEnd/>
              <a:tailEnd/>
            </a:ln>
          </p:spPr>
          <p:txBody>
            <a:bodyPr lIns="0" tIns="0" rIns="0" bIns="0">
              <a:spAutoFit/>
            </a:bodyPr>
            <a:lstStyle/>
            <a:p>
              <a:pPr marL="0" marR="0" lvl="0" indent="0" algn="l" defTabSz="912813" rtl="0" eaLnBrk="1" fontAlgn="auto" latinLnBrk="0" hangingPunct="1">
                <a:lnSpc>
                  <a:spcPct val="100000"/>
                </a:lnSpc>
                <a:spcBef>
                  <a:spcPts val="0"/>
                </a:spcBef>
                <a:spcAft>
                  <a:spcPts val="0"/>
                </a:spcAft>
                <a:buClr>
                  <a:srgbClr val="1F497D"/>
                </a:buClr>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Competitive strength</a:t>
              </a:r>
            </a:p>
          </p:txBody>
        </p:sp>
        <p:sp>
          <p:nvSpPr>
            <p:cNvPr id="11" name="Rectangle 88">
              <a:extLst>
                <a:ext uri="{FF2B5EF4-FFF2-40B4-BE49-F238E27FC236}">
                  <a16:creationId xmlns:a16="http://schemas.microsoft.com/office/drawing/2014/main" id="{A859E695-BDDD-4F41-B8BC-0E07ED4FC8FE}"/>
                </a:ext>
              </a:extLst>
            </p:cNvPr>
            <p:cNvSpPr>
              <a:spLocks noChangeArrowheads="1"/>
            </p:cNvSpPr>
            <p:nvPr>
              <p:custDataLst>
                <p:tags r:id="rId2"/>
              </p:custDataLst>
            </p:nvPr>
          </p:nvSpPr>
          <p:spPr bwMode="gray">
            <a:xfrm>
              <a:off x="7866294" y="474278"/>
              <a:ext cx="1160462" cy="138499"/>
            </a:xfrm>
            <a:prstGeom prst="rect">
              <a:avLst/>
            </a:prstGeom>
            <a:noFill/>
            <a:ln w="9525">
              <a:noFill/>
              <a:miter lim="800000"/>
              <a:headEnd/>
              <a:tailEnd/>
            </a:ln>
          </p:spPr>
          <p:txBody>
            <a:bodyPr lIns="0" tIns="0" rIns="0" bIns="0">
              <a:spAutoFit/>
            </a:bodyPr>
            <a:lstStyle/>
            <a:p>
              <a:pPr marL="0" marR="0" lvl="0" indent="0" algn="l" defTabSz="912813" rtl="0" eaLnBrk="1" fontAlgn="auto" latinLnBrk="0" hangingPunct="1">
                <a:lnSpc>
                  <a:spcPct val="100000"/>
                </a:lnSpc>
                <a:spcBef>
                  <a:spcPts val="0"/>
                </a:spcBef>
                <a:spcAft>
                  <a:spcPts val="0"/>
                </a:spcAft>
                <a:buClr>
                  <a:srgbClr val="1F497D"/>
                </a:buClr>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Competitive weakness</a:t>
              </a:r>
            </a:p>
          </p:txBody>
        </p:sp>
        <p:sp>
          <p:nvSpPr>
            <p:cNvPr id="12" name="Oval 61">
              <a:extLst>
                <a:ext uri="{FF2B5EF4-FFF2-40B4-BE49-F238E27FC236}">
                  <a16:creationId xmlns:a16="http://schemas.microsoft.com/office/drawing/2014/main" id="{832E2FE2-09D0-4D0B-A316-B22C38366D91}"/>
                </a:ext>
              </a:extLst>
            </p:cNvPr>
            <p:cNvSpPr>
              <a:spLocks noChangeAspect="1" noChangeArrowheads="1"/>
            </p:cNvSpPr>
            <p:nvPr/>
          </p:nvSpPr>
          <p:spPr bwMode="gray">
            <a:xfrm>
              <a:off x="7607185" y="246140"/>
              <a:ext cx="136525" cy="136525"/>
            </a:xfrm>
            <a:prstGeom prst="ellipse">
              <a:avLst/>
            </a:prstGeom>
            <a:solidFill>
              <a:srgbClr val="92D050"/>
            </a:solidFill>
            <a:ln w="9525" algn="ctr">
              <a:solidFill>
                <a:schemeClr val="tx1"/>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Oval 63">
              <a:extLst>
                <a:ext uri="{FF2B5EF4-FFF2-40B4-BE49-F238E27FC236}">
                  <a16:creationId xmlns:a16="http://schemas.microsoft.com/office/drawing/2014/main" id="{E6C3EC2D-1828-4C76-8AF4-88400231ED63}"/>
                </a:ext>
              </a:extLst>
            </p:cNvPr>
            <p:cNvSpPr>
              <a:spLocks noChangeAspect="1" noChangeArrowheads="1"/>
            </p:cNvSpPr>
            <p:nvPr/>
          </p:nvSpPr>
          <p:spPr bwMode="gray">
            <a:xfrm>
              <a:off x="7607185" y="475904"/>
              <a:ext cx="136525" cy="136525"/>
            </a:xfrm>
            <a:prstGeom prst="ellipse">
              <a:avLst/>
            </a:prstGeom>
            <a:solidFill>
              <a:srgbClr val="FF0000"/>
            </a:solidFill>
            <a:ln w="9525" algn="ctr">
              <a:solidFill>
                <a:schemeClr val="tx1"/>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4" name="Diagram 13">
              <a:extLst>
                <a:ext uri="{FF2B5EF4-FFF2-40B4-BE49-F238E27FC236}">
                  <a16:creationId xmlns:a16="http://schemas.microsoft.com/office/drawing/2014/main" id="{866AE6B8-161B-4202-9CFB-5C0FE2035698}"/>
                </a:ext>
              </a:extLst>
            </p:cNvPr>
            <p:cNvGraphicFramePr/>
            <p:nvPr/>
          </p:nvGraphicFramePr>
          <p:xfrm>
            <a:off x="7549376" y="691066"/>
            <a:ext cx="245326" cy="20072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5" name="Rectangle 88">
              <a:extLst>
                <a:ext uri="{FF2B5EF4-FFF2-40B4-BE49-F238E27FC236}">
                  <a16:creationId xmlns:a16="http://schemas.microsoft.com/office/drawing/2014/main" id="{8E4A1185-0AEE-41C1-A51C-26582298FD2D}"/>
                </a:ext>
              </a:extLst>
            </p:cNvPr>
            <p:cNvSpPr>
              <a:spLocks noChangeArrowheads="1"/>
            </p:cNvSpPr>
            <p:nvPr>
              <p:custDataLst>
                <p:tags r:id="rId3"/>
              </p:custDataLst>
            </p:nvPr>
          </p:nvSpPr>
          <p:spPr bwMode="gray">
            <a:xfrm>
              <a:off x="7866294" y="738188"/>
              <a:ext cx="1160462" cy="138499"/>
            </a:xfrm>
            <a:prstGeom prst="rect">
              <a:avLst/>
            </a:prstGeom>
            <a:noFill/>
            <a:ln w="9525">
              <a:noFill/>
              <a:miter lim="800000"/>
              <a:headEnd/>
              <a:tailEnd/>
            </a:ln>
          </p:spPr>
          <p:txBody>
            <a:bodyPr lIns="0" tIns="0" rIns="0" bIns="0">
              <a:spAutoFit/>
            </a:bodyPr>
            <a:lstStyle/>
            <a:p>
              <a:pPr marL="0" marR="0" lvl="0" indent="0" algn="l" defTabSz="912813" rtl="0" eaLnBrk="1" fontAlgn="auto" latinLnBrk="0" hangingPunct="1">
                <a:lnSpc>
                  <a:spcPct val="100000"/>
                </a:lnSpc>
                <a:spcBef>
                  <a:spcPts val="0"/>
                </a:spcBef>
                <a:spcAft>
                  <a:spcPts val="0"/>
                </a:spcAft>
                <a:buClr>
                  <a:srgbClr val="1F497D"/>
                </a:buClr>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Portfolio Coverage</a:t>
              </a:r>
            </a:p>
          </p:txBody>
        </p:sp>
      </p:grpSp>
      <p:sp>
        <p:nvSpPr>
          <p:cNvPr id="4" name="TextBox 3">
            <a:extLst>
              <a:ext uri="{FF2B5EF4-FFF2-40B4-BE49-F238E27FC236}">
                <a16:creationId xmlns:a16="http://schemas.microsoft.com/office/drawing/2014/main" id="{E01C54FC-7750-4797-B5EB-212A74551F69}"/>
              </a:ext>
            </a:extLst>
          </p:cNvPr>
          <p:cNvSpPr txBox="1"/>
          <p:nvPr/>
        </p:nvSpPr>
        <p:spPr>
          <a:xfrm>
            <a:off x="13888" y="46938"/>
            <a:ext cx="4971867"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r>
              <a:rPr kumimoji="0" lang="en-US"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evaluation framework</a:t>
            </a:r>
          </a:p>
        </p:txBody>
      </p:sp>
      <p:pic>
        <p:nvPicPr>
          <p:cNvPr id="17" name="Picture 16" descr="Logo&#10;&#10;Description automatically generated">
            <a:extLst>
              <a:ext uri="{FF2B5EF4-FFF2-40B4-BE49-F238E27FC236}">
                <a16:creationId xmlns:a16="http://schemas.microsoft.com/office/drawing/2014/main" id="{702E16ED-697E-4EBC-8A00-BA19616B5F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441251" y="123574"/>
            <a:ext cx="1644316" cy="382715"/>
          </a:xfrm>
          <a:prstGeom prst="rect">
            <a:avLst/>
          </a:prstGeom>
        </p:spPr>
      </p:pic>
      <p:pic>
        <p:nvPicPr>
          <p:cNvPr id="2" name="Picture 1">
            <a:extLst>
              <a:ext uri="{FF2B5EF4-FFF2-40B4-BE49-F238E27FC236}">
                <a16:creationId xmlns:a16="http://schemas.microsoft.com/office/drawing/2014/main" id="{9986066B-12C3-4C54-B570-D42A1D9A21DA}"/>
              </a:ext>
            </a:extLst>
          </p:cNvPr>
          <p:cNvPicPr>
            <a:picLocks noChangeAspect="1"/>
          </p:cNvPicPr>
          <p:nvPr/>
        </p:nvPicPr>
        <p:blipFill>
          <a:blip r:embed="rId11"/>
          <a:stretch>
            <a:fillRect/>
          </a:stretch>
        </p:blipFill>
        <p:spPr>
          <a:xfrm>
            <a:off x="2035889" y="894139"/>
            <a:ext cx="8991600" cy="5448300"/>
          </a:xfrm>
          <a:prstGeom prst="rect">
            <a:avLst/>
          </a:prstGeom>
        </p:spPr>
      </p:pic>
      <p:sp>
        <p:nvSpPr>
          <p:cNvPr id="16" name="TextBox 15">
            <a:extLst>
              <a:ext uri="{FF2B5EF4-FFF2-40B4-BE49-F238E27FC236}">
                <a16:creationId xmlns:a16="http://schemas.microsoft.com/office/drawing/2014/main" id="{D4066B1B-AC17-4ABC-8014-269F5CC763A4}"/>
              </a:ext>
            </a:extLst>
          </p:cNvPr>
          <p:cNvSpPr txBox="1"/>
          <p:nvPr/>
        </p:nvSpPr>
        <p:spPr>
          <a:xfrm>
            <a:off x="5193437" y="6622072"/>
            <a:ext cx="639199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 This file is available on www.upskilpro.com in an editable version , use the reference number provided on the top right </a:t>
            </a:r>
          </a:p>
        </p:txBody>
      </p:sp>
    </p:spTree>
    <p:extLst>
      <p:ext uri="{BB962C8B-B14F-4D97-AF65-F5344CB8AC3E}">
        <p14:creationId xmlns:p14="http://schemas.microsoft.com/office/powerpoint/2010/main" val="42276037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B7C776E4-7CBD-0D8D-8B10-C90135C4EA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3" name="Footer Placeholder 3">
            <a:extLst>
              <a:ext uri="{FF2B5EF4-FFF2-40B4-BE49-F238E27FC236}">
                <a16:creationId xmlns:a16="http://schemas.microsoft.com/office/drawing/2014/main" id="{378A3183-F720-0D84-14A9-E8F8E0EFC5D2}"/>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sp>
        <p:nvSpPr>
          <p:cNvPr id="4" name="TextBox 3">
            <a:extLst>
              <a:ext uri="{FF2B5EF4-FFF2-40B4-BE49-F238E27FC236}">
                <a16:creationId xmlns:a16="http://schemas.microsoft.com/office/drawing/2014/main" id="{13617872-A33F-BEE8-36AF-6162B63E6BD9}"/>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400" dirty="0">
                <a:solidFill>
                  <a:prstClr val="black"/>
                </a:solidFill>
                <a:latin typeface="Poppins" panose="00000500000000000000" pitchFamily="2" charset="0"/>
                <a:cs typeface="Poppins" panose="00000500000000000000" pitchFamily="2" charset="0"/>
              </a:rPr>
              <a:t>SWOT – Review of O&amp;T</a:t>
            </a:r>
            <a:endPar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endParaRPr>
          </a:p>
        </p:txBody>
      </p:sp>
      <p:graphicFrame>
        <p:nvGraphicFramePr>
          <p:cNvPr id="7" name="Table 2">
            <a:extLst>
              <a:ext uri="{FF2B5EF4-FFF2-40B4-BE49-F238E27FC236}">
                <a16:creationId xmlns:a16="http://schemas.microsoft.com/office/drawing/2014/main" id="{59FE2F62-2F5A-A6B8-8A26-EF2CB9564C4B}"/>
              </a:ext>
            </a:extLst>
          </p:cNvPr>
          <p:cNvGraphicFramePr>
            <a:graphicFrameLocks noGrp="1"/>
          </p:cNvGraphicFramePr>
          <p:nvPr>
            <p:extLst>
              <p:ext uri="{D42A27DB-BD31-4B8C-83A1-F6EECF244321}">
                <p14:modId xmlns:p14="http://schemas.microsoft.com/office/powerpoint/2010/main" val="1214181906"/>
              </p:ext>
            </p:extLst>
          </p:nvPr>
        </p:nvGraphicFramePr>
        <p:xfrm>
          <a:off x="6096000" y="1250265"/>
          <a:ext cx="4522950" cy="2503920"/>
        </p:xfrm>
        <a:graphic>
          <a:graphicData uri="http://schemas.openxmlformats.org/drawingml/2006/table">
            <a:tbl>
              <a:tblPr firstRow="1" bandRow="1">
                <a:tableStyleId>{073A0DAA-6AF3-43AB-8588-CEC1D06C72B9}</a:tableStyleId>
              </a:tblPr>
              <a:tblGrid>
                <a:gridCol w="742950">
                  <a:extLst>
                    <a:ext uri="{9D8B030D-6E8A-4147-A177-3AD203B41FA5}">
                      <a16:colId xmlns:a16="http://schemas.microsoft.com/office/drawing/2014/main" val="61844024"/>
                    </a:ext>
                  </a:extLst>
                </a:gridCol>
                <a:gridCol w="756000">
                  <a:extLst>
                    <a:ext uri="{9D8B030D-6E8A-4147-A177-3AD203B41FA5}">
                      <a16:colId xmlns:a16="http://schemas.microsoft.com/office/drawing/2014/main" val="3513857102"/>
                    </a:ext>
                  </a:extLst>
                </a:gridCol>
                <a:gridCol w="756000">
                  <a:extLst>
                    <a:ext uri="{9D8B030D-6E8A-4147-A177-3AD203B41FA5}">
                      <a16:colId xmlns:a16="http://schemas.microsoft.com/office/drawing/2014/main" val="1445534512"/>
                    </a:ext>
                  </a:extLst>
                </a:gridCol>
                <a:gridCol w="756000">
                  <a:extLst>
                    <a:ext uri="{9D8B030D-6E8A-4147-A177-3AD203B41FA5}">
                      <a16:colId xmlns:a16="http://schemas.microsoft.com/office/drawing/2014/main" val="414876873"/>
                    </a:ext>
                  </a:extLst>
                </a:gridCol>
                <a:gridCol w="756000">
                  <a:extLst>
                    <a:ext uri="{9D8B030D-6E8A-4147-A177-3AD203B41FA5}">
                      <a16:colId xmlns:a16="http://schemas.microsoft.com/office/drawing/2014/main" val="1717331697"/>
                    </a:ext>
                  </a:extLst>
                </a:gridCol>
                <a:gridCol w="756000">
                  <a:extLst>
                    <a:ext uri="{9D8B030D-6E8A-4147-A177-3AD203B41FA5}">
                      <a16:colId xmlns:a16="http://schemas.microsoft.com/office/drawing/2014/main" val="1778521686"/>
                    </a:ext>
                  </a:extLst>
                </a:gridCol>
              </a:tblGrid>
              <a:tr h="274320">
                <a:tc gridSpan="6">
                  <a:txBody>
                    <a:bodyPr/>
                    <a:lstStyle/>
                    <a:p>
                      <a:pPr algn="ctr"/>
                      <a:r>
                        <a:rPr lang="en-GB" sz="1000" dirty="0"/>
                        <a:t>D – Strength Weakness Analysis  Impact </a:t>
                      </a:r>
                    </a:p>
                  </a:txBody>
                  <a:tcPr anchor="ctr">
                    <a:solidFill>
                      <a:srgbClr val="3984A3"/>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r>
                        <a:rPr lang="en-GB" sz="1000" dirty="0"/>
                        <a:t>Impact </a:t>
                      </a:r>
                    </a:p>
                  </a:txBody>
                  <a:tcPr anchor="ctr">
                    <a:solidFill>
                      <a:srgbClr val="3984A3"/>
                    </a:solidFill>
                  </a:tcPr>
                </a:tc>
                <a:tc hMerge="1">
                  <a:txBody>
                    <a:bodyPr/>
                    <a:lstStyle/>
                    <a:p>
                      <a:endParaRPr lang="en-GB"/>
                    </a:p>
                  </a:txBody>
                  <a:tcPr/>
                </a:tc>
                <a:extLst>
                  <a:ext uri="{0D108BD9-81ED-4DB2-BD59-A6C34878D82A}">
                    <a16:rowId xmlns:a16="http://schemas.microsoft.com/office/drawing/2014/main" val="176342530"/>
                  </a:ext>
                </a:extLst>
              </a:tr>
              <a:tr h="274320">
                <a:tc>
                  <a:txBody>
                    <a:bodyPr/>
                    <a:lstStyle/>
                    <a:p>
                      <a:pPr algn="ctr"/>
                      <a:r>
                        <a:rPr lang="en-GB" sz="900" b="1" dirty="0">
                          <a:solidFill>
                            <a:schemeClr val="bg1"/>
                          </a:solidFill>
                        </a:rPr>
                        <a:t>CSF</a:t>
                      </a:r>
                    </a:p>
                  </a:txBody>
                  <a:tcPr anchor="ctr">
                    <a:solidFill>
                      <a:srgbClr val="3984A3"/>
                    </a:solidFill>
                  </a:tcPr>
                </a:tc>
                <a:tc>
                  <a:txBody>
                    <a:bodyPr/>
                    <a:lstStyle/>
                    <a:p>
                      <a:pPr algn="ctr"/>
                      <a:r>
                        <a:rPr lang="en-GB" sz="900" b="1" dirty="0">
                          <a:solidFill>
                            <a:schemeClr val="bg1"/>
                          </a:solidFill>
                        </a:rPr>
                        <a:t>We</a:t>
                      </a:r>
                    </a:p>
                  </a:txBody>
                  <a:tcPr anchor="ctr">
                    <a:solidFill>
                      <a:srgbClr val="3984A3"/>
                    </a:solidFill>
                  </a:tcPr>
                </a:tc>
                <a:tc>
                  <a:txBody>
                    <a:bodyPr/>
                    <a:lstStyle/>
                    <a:p>
                      <a:pPr algn="ctr"/>
                      <a:r>
                        <a:rPr lang="en-GB" sz="900" b="1" dirty="0">
                          <a:solidFill>
                            <a:schemeClr val="bg1"/>
                          </a:solidFill>
                        </a:rPr>
                        <a:t>Comp A</a:t>
                      </a:r>
                    </a:p>
                  </a:txBody>
                  <a:tcPr anchor="ctr">
                    <a:solidFill>
                      <a:srgbClr val="3984A3"/>
                    </a:solidFill>
                  </a:tcPr>
                </a:tc>
                <a:tc>
                  <a:txBody>
                    <a:bodyPr/>
                    <a:lstStyle/>
                    <a:p>
                      <a:pPr algn="ctr"/>
                      <a:r>
                        <a:rPr lang="en-GB" sz="900" b="1" dirty="0">
                          <a:solidFill>
                            <a:schemeClr val="bg1"/>
                          </a:solidFill>
                        </a:rPr>
                        <a:t>Comp B</a:t>
                      </a:r>
                    </a:p>
                  </a:txBody>
                  <a:tcPr anchor="ctr">
                    <a:solidFill>
                      <a:srgbClr val="3984A3"/>
                    </a:solidFill>
                  </a:tcPr>
                </a:tc>
                <a:tc>
                  <a:txBody>
                    <a:bodyPr/>
                    <a:lstStyle/>
                    <a:p>
                      <a:pPr algn="ctr"/>
                      <a:r>
                        <a:rPr lang="en-GB" sz="900" b="1" dirty="0">
                          <a:solidFill>
                            <a:schemeClr val="bg1"/>
                          </a:solidFill>
                        </a:rPr>
                        <a:t>Comp C</a:t>
                      </a:r>
                    </a:p>
                  </a:txBody>
                  <a:tcPr anchor="ctr">
                    <a:solidFill>
                      <a:srgbClr val="3984A3"/>
                    </a:solidFill>
                  </a:tcPr>
                </a:tc>
                <a:tc>
                  <a:txBody>
                    <a:bodyPr/>
                    <a:lstStyle/>
                    <a:p>
                      <a:pPr algn="ctr"/>
                      <a:r>
                        <a:rPr lang="en-GB" sz="900" b="1" dirty="0">
                          <a:solidFill>
                            <a:schemeClr val="bg1"/>
                          </a:solidFill>
                        </a:rPr>
                        <a:t>Comp D</a:t>
                      </a:r>
                    </a:p>
                  </a:txBody>
                  <a:tcPr anchor="ctr">
                    <a:solidFill>
                      <a:srgbClr val="3984A3"/>
                    </a:solidFill>
                  </a:tcPr>
                </a:tc>
                <a:extLst>
                  <a:ext uri="{0D108BD9-81ED-4DB2-BD59-A6C34878D82A}">
                    <a16:rowId xmlns:a16="http://schemas.microsoft.com/office/drawing/2014/main" val="427195624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794839205"/>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1222309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502150127"/>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819698324"/>
                  </a:ext>
                </a:extLst>
              </a:tr>
              <a:tr h="251584">
                <a:tc gridSpan="6">
                  <a:txBody>
                    <a:bodyPr/>
                    <a:lstStyle/>
                    <a:p>
                      <a:pPr marL="228600" indent="-228600">
                        <a:buFont typeface="Arial" panose="020B0604020202020204" pitchFamily="34" charset="0"/>
                        <a:buChar char="•"/>
                      </a:pPr>
                      <a:r>
                        <a:rPr lang="en-GB" sz="800" i="1" dirty="0">
                          <a:latin typeface="Lato Light" panose="020F0502020204030203" pitchFamily="34" charset="0"/>
                          <a:ea typeface="Lato Light" panose="020F0502020204030203" pitchFamily="34" charset="0"/>
                          <a:cs typeface="Lato Light" panose="020F0502020204030203" pitchFamily="34" charset="0"/>
                        </a:rPr>
                        <a:t>In this case how it's about how your customers would rate you and the other competitors in each of the CSF’s , you will multiply the score by the weight.</a:t>
                      </a:r>
                    </a:p>
                  </a:txBody>
                  <a:tcPr>
                    <a:solidFill>
                      <a:schemeClr val="accent5">
                        <a:lumMod val="60000"/>
                        <a:lumOff val="40000"/>
                      </a:schemeClr>
                    </a:solidFill>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4120500651"/>
                  </a:ext>
                </a:extLst>
              </a:tr>
            </a:tbl>
          </a:graphicData>
        </a:graphic>
      </p:graphicFrame>
      <p:graphicFrame>
        <p:nvGraphicFramePr>
          <p:cNvPr id="8" name="Table 2">
            <a:extLst>
              <a:ext uri="{FF2B5EF4-FFF2-40B4-BE49-F238E27FC236}">
                <a16:creationId xmlns:a16="http://schemas.microsoft.com/office/drawing/2014/main" id="{42C99DAB-C4DD-3947-87DF-43B204EDCF21}"/>
              </a:ext>
            </a:extLst>
          </p:cNvPr>
          <p:cNvGraphicFramePr>
            <a:graphicFrameLocks noGrp="1"/>
          </p:cNvGraphicFramePr>
          <p:nvPr/>
        </p:nvGraphicFramePr>
        <p:xfrm>
          <a:off x="2771411" y="1250265"/>
          <a:ext cx="2019300" cy="2168640"/>
        </p:xfrm>
        <a:graphic>
          <a:graphicData uri="http://schemas.openxmlformats.org/drawingml/2006/table">
            <a:tbl>
              <a:tblPr firstRow="1" bandRow="1">
                <a:tableStyleId>{073A0DAA-6AF3-43AB-8588-CEC1D06C72B9}</a:tableStyleId>
              </a:tblPr>
              <a:tblGrid>
                <a:gridCol w="2019300">
                  <a:extLst>
                    <a:ext uri="{9D8B030D-6E8A-4147-A177-3AD203B41FA5}">
                      <a16:colId xmlns:a16="http://schemas.microsoft.com/office/drawing/2014/main" val="1717331697"/>
                    </a:ext>
                  </a:extLst>
                </a:gridCol>
              </a:tblGrid>
              <a:tr h="432000">
                <a:tc>
                  <a:txBody>
                    <a:bodyPr/>
                    <a:lstStyle/>
                    <a:p>
                      <a:pPr algn="ctr"/>
                      <a:r>
                        <a:rPr lang="en-GB" sz="1000" dirty="0"/>
                        <a:t>B – Critical Success Factors  ( CSF)  Relate this to how your customers choose </a:t>
                      </a:r>
                    </a:p>
                  </a:txBody>
                  <a:tcPr marL="45720" marR="45720" anchor="ctr">
                    <a:solidFill>
                      <a:srgbClr val="3984A3"/>
                    </a:solidFill>
                  </a:tcPr>
                </a:tc>
                <a:extLst>
                  <a:ext uri="{0D108BD9-81ED-4DB2-BD59-A6C34878D82A}">
                    <a16:rowId xmlns:a16="http://schemas.microsoft.com/office/drawing/2014/main" val="176342530"/>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794839205"/>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1222309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502150127"/>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819698324"/>
                  </a:ext>
                </a:extLst>
              </a:tr>
            </a:tbl>
          </a:graphicData>
        </a:graphic>
      </p:graphicFrame>
      <p:graphicFrame>
        <p:nvGraphicFramePr>
          <p:cNvPr id="9" name="Table 2">
            <a:extLst>
              <a:ext uri="{FF2B5EF4-FFF2-40B4-BE49-F238E27FC236}">
                <a16:creationId xmlns:a16="http://schemas.microsoft.com/office/drawing/2014/main" id="{73A24E48-D371-D722-3809-2FC5D10910A8}"/>
              </a:ext>
            </a:extLst>
          </p:cNvPr>
          <p:cNvGraphicFramePr>
            <a:graphicFrameLocks noGrp="1"/>
          </p:cNvGraphicFramePr>
          <p:nvPr/>
        </p:nvGraphicFramePr>
        <p:xfrm>
          <a:off x="620448" y="1250265"/>
          <a:ext cx="2019300" cy="2168640"/>
        </p:xfrm>
        <a:graphic>
          <a:graphicData uri="http://schemas.openxmlformats.org/drawingml/2006/table">
            <a:tbl>
              <a:tblPr firstRow="1" bandRow="1">
                <a:tableStyleId>{073A0DAA-6AF3-43AB-8588-CEC1D06C72B9}</a:tableStyleId>
              </a:tblPr>
              <a:tblGrid>
                <a:gridCol w="2019300">
                  <a:extLst>
                    <a:ext uri="{9D8B030D-6E8A-4147-A177-3AD203B41FA5}">
                      <a16:colId xmlns:a16="http://schemas.microsoft.com/office/drawing/2014/main" val="1717331697"/>
                    </a:ext>
                  </a:extLst>
                </a:gridCol>
              </a:tblGrid>
              <a:tr h="432000">
                <a:tc>
                  <a:txBody>
                    <a:bodyPr/>
                    <a:lstStyle/>
                    <a:p>
                      <a:pPr algn="ctr"/>
                      <a:r>
                        <a:rPr lang="en-GB" sz="1000" dirty="0"/>
                        <a:t>A – Segment Description Keep this to a specific area of the organisation and high importance </a:t>
                      </a:r>
                    </a:p>
                  </a:txBody>
                  <a:tcPr marL="45720" marR="45720" anchor="ctr">
                    <a:solidFill>
                      <a:srgbClr val="3984A3"/>
                    </a:solidFill>
                  </a:tcPr>
                </a:tc>
                <a:extLst>
                  <a:ext uri="{0D108BD9-81ED-4DB2-BD59-A6C34878D82A}">
                    <a16:rowId xmlns:a16="http://schemas.microsoft.com/office/drawing/2014/main" val="176342530"/>
                  </a:ext>
                </a:extLst>
              </a:tr>
              <a:tr h="1620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bl>
          </a:graphicData>
        </a:graphic>
      </p:graphicFrame>
      <p:graphicFrame>
        <p:nvGraphicFramePr>
          <p:cNvPr id="11" name="Table 2">
            <a:extLst>
              <a:ext uri="{FF2B5EF4-FFF2-40B4-BE49-F238E27FC236}">
                <a16:creationId xmlns:a16="http://schemas.microsoft.com/office/drawing/2014/main" id="{22ED98A4-83EE-B577-64FB-5CAE320A4CF2}"/>
              </a:ext>
            </a:extLst>
          </p:cNvPr>
          <p:cNvGraphicFramePr>
            <a:graphicFrameLocks noGrp="1"/>
          </p:cNvGraphicFramePr>
          <p:nvPr>
            <p:extLst>
              <p:ext uri="{D42A27DB-BD31-4B8C-83A1-F6EECF244321}">
                <p14:modId xmlns:p14="http://schemas.microsoft.com/office/powerpoint/2010/main" val="3161592166"/>
              </p:ext>
            </p:extLst>
          </p:nvPr>
        </p:nvGraphicFramePr>
        <p:xfrm>
          <a:off x="697050" y="3848760"/>
          <a:ext cx="3084011" cy="2063280"/>
        </p:xfrm>
        <a:graphic>
          <a:graphicData uri="http://schemas.openxmlformats.org/drawingml/2006/table">
            <a:tbl>
              <a:tblPr firstRow="1" bandRow="1">
                <a:tableStyleId>{073A0DAA-6AF3-43AB-8588-CEC1D06C72B9}</a:tableStyleId>
              </a:tblPr>
              <a:tblGrid>
                <a:gridCol w="664661">
                  <a:extLst>
                    <a:ext uri="{9D8B030D-6E8A-4147-A177-3AD203B41FA5}">
                      <a16:colId xmlns:a16="http://schemas.microsoft.com/office/drawing/2014/main" val="61844024"/>
                    </a:ext>
                  </a:extLst>
                </a:gridCol>
                <a:gridCol w="2419350">
                  <a:extLst>
                    <a:ext uri="{9D8B030D-6E8A-4147-A177-3AD203B41FA5}">
                      <a16:colId xmlns:a16="http://schemas.microsoft.com/office/drawing/2014/main" val="1717331697"/>
                    </a:ext>
                  </a:extLst>
                </a:gridCol>
              </a:tblGrid>
              <a:tr h="432000">
                <a:tc gridSpan="2">
                  <a:txBody>
                    <a:bodyPr/>
                    <a:lstStyle/>
                    <a:p>
                      <a:pPr algn="ctr"/>
                      <a:r>
                        <a:rPr lang="en-GB" sz="1000" dirty="0"/>
                        <a:t>Opportunities</a:t>
                      </a:r>
                    </a:p>
                  </a:txBody>
                  <a:tcPr anchor="ctr">
                    <a:solidFill>
                      <a:srgbClr val="3984A3"/>
                    </a:solidFill>
                  </a:tcPr>
                </a:tc>
                <a:tc hMerge="1">
                  <a:txBody>
                    <a:bodyPr/>
                    <a:lstStyle/>
                    <a:p>
                      <a:pPr algn="ctr"/>
                      <a:r>
                        <a:rPr lang="en-GB" dirty="0"/>
                        <a:t>Impact </a:t>
                      </a:r>
                    </a:p>
                  </a:txBody>
                  <a:tcPr anchor="ctr">
                    <a:solidFill>
                      <a:srgbClr val="3984A3"/>
                    </a:solidFill>
                  </a:tcPr>
                </a:tc>
                <a:extLst>
                  <a:ext uri="{0D108BD9-81ED-4DB2-BD59-A6C34878D82A}">
                    <a16:rowId xmlns:a16="http://schemas.microsoft.com/office/drawing/2014/main" val="176342530"/>
                  </a:ext>
                </a:extLst>
              </a:tr>
              <a:tr h="324000">
                <a:tc>
                  <a:txBody>
                    <a:bodyPr/>
                    <a:lstStyle/>
                    <a:p>
                      <a:pPr marL="0" indent="0" algn="ctr">
                        <a:buFont typeface="Arial" panose="020B0604020202020204" pitchFamily="34" charset="0"/>
                        <a:buNone/>
                      </a:pPr>
                      <a:r>
                        <a:rPr lang="en-GB" sz="1200" b="1" dirty="0">
                          <a:latin typeface="Lato Light" panose="020F0502020204030203" pitchFamily="34" charset="0"/>
                          <a:ea typeface="Lato Light" panose="020F0502020204030203" pitchFamily="34" charset="0"/>
                          <a:cs typeface="Lato Light" panose="020F0502020204030203" pitchFamily="34" charset="0"/>
                        </a:rPr>
                        <a:t>A</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r h="324000">
                <a:tc>
                  <a:txBody>
                    <a:bodyPr/>
                    <a:lstStyle/>
                    <a:p>
                      <a:pPr marL="0" indent="0" algn="ctr">
                        <a:buFont typeface="Arial" panose="020B0604020202020204" pitchFamily="34" charset="0"/>
                        <a:buNone/>
                      </a:pPr>
                      <a:r>
                        <a:rPr lang="en-GB" sz="1200" b="1" dirty="0">
                          <a:latin typeface="Lato Light" panose="020F0502020204030203" pitchFamily="34" charset="0"/>
                          <a:ea typeface="Lato Light" panose="020F0502020204030203" pitchFamily="34" charset="0"/>
                          <a:cs typeface="Lato Light" panose="020F0502020204030203" pitchFamily="34" charset="0"/>
                        </a:rPr>
                        <a:t>B</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794839205"/>
                  </a:ext>
                </a:extLst>
              </a:tr>
              <a:tr h="324000">
                <a:tc>
                  <a:txBody>
                    <a:bodyPr/>
                    <a:lstStyle/>
                    <a:p>
                      <a:pPr marL="0" indent="0" algn="ctr">
                        <a:buFont typeface="Arial" panose="020B0604020202020204" pitchFamily="34" charset="0"/>
                        <a:buNone/>
                      </a:pPr>
                      <a:r>
                        <a:rPr lang="en-GB" sz="1200" b="1" dirty="0">
                          <a:latin typeface="Lato Light" panose="020F0502020204030203" pitchFamily="34" charset="0"/>
                          <a:ea typeface="Lato Light" panose="020F0502020204030203" pitchFamily="34" charset="0"/>
                          <a:cs typeface="Lato Light" panose="020F0502020204030203" pitchFamily="34" charset="0"/>
                        </a:rPr>
                        <a:t>C</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12223091"/>
                  </a:ext>
                </a:extLst>
              </a:tr>
              <a:tr h="324000">
                <a:tc>
                  <a:txBody>
                    <a:bodyPr/>
                    <a:lstStyle/>
                    <a:p>
                      <a:pPr marL="0" indent="0" algn="ctr">
                        <a:buFont typeface="Arial" panose="020B0604020202020204" pitchFamily="34" charset="0"/>
                        <a:buNone/>
                      </a:pPr>
                      <a:r>
                        <a:rPr lang="en-GB" sz="1200" b="1" dirty="0">
                          <a:latin typeface="Lato Light" panose="020F0502020204030203" pitchFamily="34" charset="0"/>
                          <a:ea typeface="Lato Light" panose="020F0502020204030203" pitchFamily="34" charset="0"/>
                          <a:cs typeface="Lato Light" panose="020F0502020204030203" pitchFamily="34" charset="0"/>
                        </a:rPr>
                        <a:t>D</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502150127"/>
                  </a:ext>
                </a:extLst>
              </a:tr>
              <a:tr h="324000">
                <a:tc gridSpan="2">
                  <a:txBody>
                    <a:bodyPr/>
                    <a:lstStyle/>
                    <a:p>
                      <a:pPr marL="0" indent="0">
                        <a:buFont typeface="Arial" panose="020B0604020202020204" pitchFamily="34" charset="0"/>
                        <a:buNone/>
                      </a:pPr>
                      <a:r>
                        <a:rPr lang="en-GB" sz="800" i="1" dirty="0">
                          <a:latin typeface="Lato Light" panose="020F0502020204030203" pitchFamily="34" charset="0"/>
                          <a:ea typeface="Lato Light" panose="020F0502020204030203" pitchFamily="34" charset="0"/>
                          <a:cs typeface="Lato Light" panose="020F0502020204030203" pitchFamily="34" charset="0"/>
                        </a:rPr>
                        <a:t>Aim to crystalize on a few areas which will have effect on your business , please keep this strategic and  top level.</a:t>
                      </a:r>
                    </a:p>
                  </a:txBody>
                  <a:tcPr>
                    <a:solidFill>
                      <a:schemeClr val="accent5">
                        <a:lumMod val="60000"/>
                        <a:lumOff val="40000"/>
                      </a:schemeClr>
                    </a:solidFill>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819698324"/>
                  </a:ext>
                </a:extLst>
              </a:tr>
            </a:tbl>
          </a:graphicData>
        </a:graphic>
      </p:graphicFrame>
      <p:graphicFrame>
        <p:nvGraphicFramePr>
          <p:cNvPr id="12" name="Table 2">
            <a:extLst>
              <a:ext uri="{FF2B5EF4-FFF2-40B4-BE49-F238E27FC236}">
                <a16:creationId xmlns:a16="http://schemas.microsoft.com/office/drawing/2014/main" id="{940FB64E-23B0-3132-E964-42D757693DAE}"/>
              </a:ext>
            </a:extLst>
          </p:cNvPr>
          <p:cNvGraphicFramePr>
            <a:graphicFrameLocks noGrp="1"/>
          </p:cNvGraphicFramePr>
          <p:nvPr/>
        </p:nvGraphicFramePr>
        <p:xfrm>
          <a:off x="4810492" y="1250265"/>
          <a:ext cx="1097426" cy="2160000"/>
        </p:xfrm>
        <a:graphic>
          <a:graphicData uri="http://schemas.openxmlformats.org/drawingml/2006/table">
            <a:tbl>
              <a:tblPr firstRow="1" bandRow="1">
                <a:tableStyleId>{073A0DAA-6AF3-43AB-8588-CEC1D06C72B9}</a:tableStyleId>
              </a:tblPr>
              <a:tblGrid>
                <a:gridCol w="1097426">
                  <a:extLst>
                    <a:ext uri="{9D8B030D-6E8A-4147-A177-3AD203B41FA5}">
                      <a16:colId xmlns:a16="http://schemas.microsoft.com/office/drawing/2014/main" val="1717331697"/>
                    </a:ext>
                  </a:extLst>
                </a:gridCol>
              </a:tblGrid>
              <a:tr h="540000">
                <a:tc>
                  <a:txBody>
                    <a:bodyPr/>
                    <a:lstStyle/>
                    <a:p>
                      <a:pPr algn="ctr"/>
                      <a:r>
                        <a:rPr lang="en-GB" sz="1000" dirty="0"/>
                        <a:t>C – Weighting </a:t>
                      </a:r>
                      <a:r>
                        <a:rPr lang="en-GB" sz="700" dirty="0"/>
                        <a:t>weight each factor in importance totalling 100 </a:t>
                      </a:r>
                    </a:p>
                  </a:txBody>
                  <a:tcPr marL="45720" marR="45720" anchor="ctr">
                    <a:solidFill>
                      <a:srgbClr val="3984A3"/>
                    </a:solidFill>
                  </a:tcPr>
                </a:tc>
                <a:extLst>
                  <a:ext uri="{0D108BD9-81ED-4DB2-BD59-A6C34878D82A}">
                    <a16:rowId xmlns:a16="http://schemas.microsoft.com/office/drawing/2014/main" val="176342530"/>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794839205"/>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12223091"/>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502150127"/>
                  </a:ext>
                </a:extLst>
              </a:tr>
              <a:tr h="324000">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819698324"/>
                  </a:ext>
                </a:extLst>
              </a:tr>
            </a:tbl>
          </a:graphicData>
        </a:graphic>
      </p:graphicFrame>
      <p:graphicFrame>
        <p:nvGraphicFramePr>
          <p:cNvPr id="13" name="Table 2">
            <a:extLst>
              <a:ext uri="{FF2B5EF4-FFF2-40B4-BE49-F238E27FC236}">
                <a16:creationId xmlns:a16="http://schemas.microsoft.com/office/drawing/2014/main" id="{8F3D71B7-B7C2-781C-E2B5-86B99A64D887}"/>
              </a:ext>
            </a:extLst>
          </p:cNvPr>
          <p:cNvGraphicFramePr>
            <a:graphicFrameLocks noGrp="1"/>
          </p:cNvGraphicFramePr>
          <p:nvPr>
            <p:extLst>
              <p:ext uri="{D42A27DB-BD31-4B8C-83A1-F6EECF244321}">
                <p14:modId xmlns:p14="http://schemas.microsoft.com/office/powerpoint/2010/main" val="1548270069"/>
              </p:ext>
            </p:extLst>
          </p:nvPr>
        </p:nvGraphicFramePr>
        <p:xfrm>
          <a:off x="4038600" y="3857307"/>
          <a:ext cx="3084011" cy="2063280"/>
        </p:xfrm>
        <a:graphic>
          <a:graphicData uri="http://schemas.openxmlformats.org/drawingml/2006/table">
            <a:tbl>
              <a:tblPr firstRow="1" bandRow="1">
                <a:tableStyleId>{073A0DAA-6AF3-43AB-8588-CEC1D06C72B9}</a:tableStyleId>
              </a:tblPr>
              <a:tblGrid>
                <a:gridCol w="664661">
                  <a:extLst>
                    <a:ext uri="{9D8B030D-6E8A-4147-A177-3AD203B41FA5}">
                      <a16:colId xmlns:a16="http://schemas.microsoft.com/office/drawing/2014/main" val="61844024"/>
                    </a:ext>
                  </a:extLst>
                </a:gridCol>
                <a:gridCol w="2419350">
                  <a:extLst>
                    <a:ext uri="{9D8B030D-6E8A-4147-A177-3AD203B41FA5}">
                      <a16:colId xmlns:a16="http://schemas.microsoft.com/office/drawing/2014/main" val="1717331697"/>
                    </a:ext>
                  </a:extLst>
                </a:gridCol>
              </a:tblGrid>
              <a:tr h="432000">
                <a:tc gridSpan="2">
                  <a:txBody>
                    <a:bodyPr/>
                    <a:lstStyle/>
                    <a:p>
                      <a:pPr algn="ctr"/>
                      <a:r>
                        <a:rPr lang="en-GB" sz="1000" dirty="0"/>
                        <a:t>Threats </a:t>
                      </a:r>
                    </a:p>
                  </a:txBody>
                  <a:tcPr anchor="ctr">
                    <a:solidFill>
                      <a:srgbClr val="3984A3"/>
                    </a:solidFill>
                  </a:tcPr>
                </a:tc>
                <a:tc hMerge="1">
                  <a:txBody>
                    <a:bodyPr/>
                    <a:lstStyle/>
                    <a:p>
                      <a:pPr algn="ctr"/>
                      <a:r>
                        <a:rPr lang="en-GB" dirty="0"/>
                        <a:t>Impact </a:t>
                      </a:r>
                    </a:p>
                  </a:txBody>
                  <a:tcPr anchor="ctr">
                    <a:solidFill>
                      <a:srgbClr val="3984A3"/>
                    </a:solidFill>
                  </a:tcPr>
                </a:tc>
                <a:extLst>
                  <a:ext uri="{0D108BD9-81ED-4DB2-BD59-A6C34878D82A}">
                    <a16:rowId xmlns:a16="http://schemas.microsoft.com/office/drawing/2014/main" val="176342530"/>
                  </a:ext>
                </a:extLst>
              </a:tr>
              <a:tr h="324000">
                <a:tc>
                  <a:txBody>
                    <a:bodyPr/>
                    <a:lstStyle/>
                    <a:p>
                      <a:pPr marL="0" indent="0" algn="ctr">
                        <a:buFont typeface="Arial" panose="020B0604020202020204" pitchFamily="34" charset="0"/>
                        <a:buNone/>
                      </a:pPr>
                      <a:r>
                        <a:rPr lang="en-GB" sz="1200" b="1" dirty="0">
                          <a:latin typeface="Lato Light" panose="020F0502020204030203" pitchFamily="34" charset="0"/>
                          <a:ea typeface="Lato Light" panose="020F0502020204030203" pitchFamily="34" charset="0"/>
                          <a:cs typeface="Lato Light" panose="020F0502020204030203" pitchFamily="34" charset="0"/>
                        </a:rPr>
                        <a:t>A</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r h="324000">
                <a:tc>
                  <a:txBody>
                    <a:bodyPr/>
                    <a:lstStyle/>
                    <a:p>
                      <a:pPr marL="0" indent="0" algn="ctr">
                        <a:buFont typeface="Arial" panose="020B0604020202020204" pitchFamily="34" charset="0"/>
                        <a:buNone/>
                      </a:pPr>
                      <a:r>
                        <a:rPr lang="en-GB" sz="1200" b="1" dirty="0">
                          <a:latin typeface="Lato Light" panose="020F0502020204030203" pitchFamily="34" charset="0"/>
                          <a:ea typeface="Lato Light" panose="020F0502020204030203" pitchFamily="34" charset="0"/>
                          <a:cs typeface="Lato Light" panose="020F0502020204030203" pitchFamily="34" charset="0"/>
                        </a:rPr>
                        <a:t>B</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794839205"/>
                  </a:ext>
                </a:extLst>
              </a:tr>
              <a:tr h="324000">
                <a:tc>
                  <a:txBody>
                    <a:bodyPr/>
                    <a:lstStyle/>
                    <a:p>
                      <a:pPr marL="0" indent="0" algn="ctr">
                        <a:buFont typeface="Arial" panose="020B0604020202020204" pitchFamily="34" charset="0"/>
                        <a:buNone/>
                      </a:pPr>
                      <a:r>
                        <a:rPr lang="en-GB" sz="1200" b="1" dirty="0">
                          <a:latin typeface="Lato Light" panose="020F0502020204030203" pitchFamily="34" charset="0"/>
                          <a:ea typeface="Lato Light" panose="020F0502020204030203" pitchFamily="34" charset="0"/>
                          <a:cs typeface="Lato Light" panose="020F0502020204030203" pitchFamily="34" charset="0"/>
                        </a:rPr>
                        <a:t>C</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12223091"/>
                  </a:ext>
                </a:extLst>
              </a:tr>
              <a:tr h="324000">
                <a:tc>
                  <a:txBody>
                    <a:bodyPr/>
                    <a:lstStyle/>
                    <a:p>
                      <a:pPr marL="0" indent="0" algn="ctr">
                        <a:buFont typeface="Arial" panose="020B0604020202020204" pitchFamily="34" charset="0"/>
                        <a:buNone/>
                      </a:pPr>
                      <a:r>
                        <a:rPr lang="en-GB" sz="1200" b="1" dirty="0">
                          <a:latin typeface="Lato Light" panose="020F0502020204030203" pitchFamily="34" charset="0"/>
                          <a:ea typeface="Lato Light" panose="020F0502020204030203" pitchFamily="34" charset="0"/>
                          <a:cs typeface="Lato Light" panose="020F0502020204030203" pitchFamily="34" charset="0"/>
                        </a:rPr>
                        <a:t>D</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502150127"/>
                  </a:ext>
                </a:extLst>
              </a:tr>
              <a:tr h="324000">
                <a:tc grid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i="1" dirty="0">
                          <a:latin typeface="Lato Light" panose="020F0502020204030203" pitchFamily="34" charset="0"/>
                          <a:ea typeface="Lato Light" panose="020F0502020204030203" pitchFamily="34" charset="0"/>
                          <a:cs typeface="Lato Light" panose="020F0502020204030203" pitchFamily="34" charset="0"/>
                        </a:rPr>
                        <a:t>Aim to crystalize on a few areas which will have effect on your business , please keep this strategic and  top level.</a:t>
                      </a:r>
                      <a:endParaRPr lang="en-GB" sz="900" i="1"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accent5">
                        <a:lumMod val="60000"/>
                        <a:lumOff val="40000"/>
                      </a:schemeClr>
                    </a:solidFill>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819698324"/>
                  </a:ext>
                </a:extLst>
              </a:tr>
            </a:tbl>
          </a:graphicData>
        </a:graphic>
      </p:graphicFrame>
      <p:graphicFrame>
        <p:nvGraphicFramePr>
          <p:cNvPr id="14" name="Table 2">
            <a:extLst>
              <a:ext uri="{FF2B5EF4-FFF2-40B4-BE49-F238E27FC236}">
                <a16:creationId xmlns:a16="http://schemas.microsoft.com/office/drawing/2014/main" id="{957EB46A-03B2-911D-6B8F-1EE927C32A95}"/>
              </a:ext>
            </a:extLst>
          </p:cNvPr>
          <p:cNvGraphicFramePr>
            <a:graphicFrameLocks noGrp="1"/>
          </p:cNvGraphicFramePr>
          <p:nvPr>
            <p:extLst>
              <p:ext uri="{D42A27DB-BD31-4B8C-83A1-F6EECF244321}">
                <p14:modId xmlns:p14="http://schemas.microsoft.com/office/powerpoint/2010/main" val="1753920854"/>
              </p:ext>
            </p:extLst>
          </p:nvPr>
        </p:nvGraphicFramePr>
        <p:xfrm>
          <a:off x="7430962" y="3848760"/>
          <a:ext cx="3084011" cy="2063280"/>
        </p:xfrm>
        <a:graphic>
          <a:graphicData uri="http://schemas.openxmlformats.org/drawingml/2006/table">
            <a:tbl>
              <a:tblPr firstRow="1" bandRow="1">
                <a:tableStyleId>{073A0DAA-6AF3-43AB-8588-CEC1D06C72B9}</a:tableStyleId>
              </a:tblPr>
              <a:tblGrid>
                <a:gridCol w="664661">
                  <a:extLst>
                    <a:ext uri="{9D8B030D-6E8A-4147-A177-3AD203B41FA5}">
                      <a16:colId xmlns:a16="http://schemas.microsoft.com/office/drawing/2014/main" val="61844024"/>
                    </a:ext>
                  </a:extLst>
                </a:gridCol>
                <a:gridCol w="2419350">
                  <a:extLst>
                    <a:ext uri="{9D8B030D-6E8A-4147-A177-3AD203B41FA5}">
                      <a16:colId xmlns:a16="http://schemas.microsoft.com/office/drawing/2014/main" val="1717331697"/>
                    </a:ext>
                  </a:extLst>
                </a:gridCol>
              </a:tblGrid>
              <a:tr h="432000">
                <a:tc gridSpan="2">
                  <a:txBody>
                    <a:bodyPr/>
                    <a:lstStyle/>
                    <a:p>
                      <a:pPr algn="ctr"/>
                      <a:r>
                        <a:rPr lang="en-GB" sz="1000" dirty="0"/>
                        <a:t>Key unresolved issues </a:t>
                      </a:r>
                    </a:p>
                  </a:txBody>
                  <a:tcPr anchor="ctr">
                    <a:solidFill>
                      <a:srgbClr val="3984A3"/>
                    </a:solidFill>
                  </a:tcPr>
                </a:tc>
                <a:tc hMerge="1">
                  <a:txBody>
                    <a:bodyPr/>
                    <a:lstStyle/>
                    <a:p>
                      <a:pPr algn="ctr"/>
                      <a:r>
                        <a:rPr lang="en-GB" dirty="0"/>
                        <a:t>Impact </a:t>
                      </a:r>
                    </a:p>
                  </a:txBody>
                  <a:tcPr anchor="ctr">
                    <a:solidFill>
                      <a:srgbClr val="3984A3"/>
                    </a:solidFill>
                  </a:tcPr>
                </a:tc>
                <a:extLst>
                  <a:ext uri="{0D108BD9-81ED-4DB2-BD59-A6C34878D82A}">
                    <a16:rowId xmlns:a16="http://schemas.microsoft.com/office/drawing/2014/main" val="176342530"/>
                  </a:ext>
                </a:extLst>
              </a:tr>
              <a:tr h="324000">
                <a:tc>
                  <a:txBody>
                    <a:bodyPr/>
                    <a:lstStyle/>
                    <a:p>
                      <a:pPr marL="0" indent="0" algn="ctr">
                        <a:buFont typeface="Arial" panose="020B0604020202020204" pitchFamily="34" charset="0"/>
                        <a:buNone/>
                      </a:pPr>
                      <a:r>
                        <a:rPr lang="en-GB" sz="1200" b="1" dirty="0">
                          <a:latin typeface="Lato Light" panose="020F0502020204030203" pitchFamily="34" charset="0"/>
                          <a:ea typeface="Lato Light" panose="020F0502020204030203" pitchFamily="34" charset="0"/>
                          <a:cs typeface="Lato Light" panose="020F0502020204030203" pitchFamily="34" charset="0"/>
                        </a:rPr>
                        <a:t>A</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570600651"/>
                  </a:ext>
                </a:extLst>
              </a:tr>
              <a:tr h="324000">
                <a:tc>
                  <a:txBody>
                    <a:bodyPr/>
                    <a:lstStyle/>
                    <a:p>
                      <a:pPr marL="0" indent="0" algn="ctr">
                        <a:buFont typeface="Arial" panose="020B0604020202020204" pitchFamily="34" charset="0"/>
                        <a:buNone/>
                      </a:pPr>
                      <a:r>
                        <a:rPr lang="en-GB" sz="1200" b="1" dirty="0">
                          <a:latin typeface="Lato Light" panose="020F0502020204030203" pitchFamily="34" charset="0"/>
                          <a:ea typeface="Lato Light" panose="020F0502020204030203" pitchFamily="34" charset="0"/>
                          <a:cs typeface="Lato Light" panose="020F0502020204030203" pitchFamily="34" charset="0"/>
                        </a:rPr>
                        <a:t>B</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794839205"/>
                  </a:ext>
                </a:extLst>
              </a:tr>
              <a:tr h="324000">
                <a:tc>
                  <a:txBody>
                    <a:bodyPr/>
                    <a:lstStyle/>
                    <a:p>
                      <a:pPr marL="0" indent="0" algn="ctr">
                        <a:buFont typeface="Arial" panose="020B0604020202020204" pitchFamily="34" charset="0"/>
                        <a:buNone/>
                      </a:pPr>
                      <a:r>
                        <a:rPr lang="en-GB" sz="1200" b="1" dirty="0">
                          <a:latin typeface="Lato Light" panose="020F0502020204030203" pitchFamily="34" charset="0"/>
                          <a:ea typeface="Lato Light" panose="020F0502020204030203" pitchFamily="34" charset="0"/>
                          <a:cs typeface="Lato Light" panose="020F0502020204030203" pitchFamily="34" charset="0"/>
                        </a:rPr>
                        <a:t>C</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212223091"/>
                  </a:ext>
                </a:extLst>
              </a:tr>
              <a:tr h="324000">
                <a:tc>
                  <a:txBody>
                    <a:bodyPr/>
                    <a:lstStyle/>
                    <a:p>
                      <a:pPr marL="0" indent="0" algn="ctr">
                        <a:buFont typeface="Arial" panose="020B0604020202020204" pitchFamily="34" charset="0"/>
                        <a:buNone/>
                      </a:pPr>
                      <a:r>
                        <a:rPr lang="en-GB" sz="1200" b="1" dirty="0">
                          <a:latin typeface="Lato Light" panose="020F0502020204030203" pitchFamily="34" charset="0"/>
                          <a:ea typeface="Lato Light" panose="020F0502020204030203" pitchFamily="34" charset="0"/>
                          <a:cs typeface="Lato Light" panose="020F0502020204030203" pitchFamily="34" charset="0"/>
                        </a:rPr>
                        <a:t>D</a:t>
                      </a:r>
                    </a:p>
                  </a:txBody>
                  <a:tcPr/>
                </a:tc>
                <a:tc>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502150127"/>
                  </a:ext>
                </a:extLst>
              </a:tr>
              <a:tr h="324000">
                <a:tc grid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i="1" dirty="0">
                          <a:latin typeface="Lato Light" panose="020F0502020204030203" pitchFamily="34" charset="0"/>
                          <a:ea typeface="Lato Light" panose="020F0502020204030203" pitchFamily="34" charset="0"/>
                          <a:cs typeface="Lato Light" panose="020F0502020204030203" pitchFamily="34" charset="0"/>
                        </a:rPr>
                        <a:t>Aim to crystalize on a few areas which will have effect on your business , please keep this strategic and  top level.</a:t>
                      </a:r>
                      <a:endParaRPr lang="en-GB" sz="1200" i="1" dirty="0">
                        <a:latin typeface="Lato Light" panose="020F0502020204030203" pitchFamily="34" charset="0"/>
                        <a:ea typeface="Lato Light" panose="020F0502020204030203" pitchFamily="34" charset="0"/>
                        <a:cs typeface="Lato Light" panose="020F0502020204030203" pitchFamily="34" charset="0"/>
                      </a:endParaRPr>
                    </a:p>
                  </a:txBody>
                  <a:tcPr>
                    <a:solidFill>
                      <a:schemeClr val="accent5">
                        <a:lumMod val="60000"/>
                        <a:lumOff val="40000"/>
                      </a:schemeClr>
                    </a:solidFill>
                  </a:tcPr>
                </a:tc>
                <a:tc hMerge="1">
                  <a:txBody>
                    <a:bodyPr/>
                    <a:lstStyle/>
                    <a:p>
                      <a:pPr marL="171450" indent="-171450">
                        <a:buFont typeface="Arial" panose="020B0604020202020204" pitchFamily="34" charset="0"/>
                        <a:buChar char="•"/>
                      </a:pPr>
                      <a:endParaRPr lang="en-GB" sz="1200" dirty="0">
                        <a:latin typeface="Lato Light" panose="020F0502020204030203" pitchFamily="34" charset="0"/>
                        <a:ea typeface="Lato Light" panose="020F0502020204030203" pitchFamily="34" charset="0"/>
                        <a:cs typeface="Lato Light" panose="020F0502020204030203" pitchFamily="34" charset="0"/>
                      </a:endParaRPr>
                    </a:p>
                  </a:txBody>
                  <a:tcPr/>
                </a:tc>
                <a:extLst>
                  <a:ext uri="{0D108BD9-81ED-4DB2-BD59-A6C34878D82A}">
                    <a16:rowId xmlns:a16="http://schemas.microsoft.com/office/drawing/2014/main" val="3819698324"/>
                  </a:ext>
                </a:extLst>
              </a:tr>
            </a:tbl>
          </a:graphicData>
        </a:graphic>
      </p:graphicFrame>
      <p:sp>
        <p:nvSpPr>
          <p:cNvPr id="5" name="TextBox 4">
            <a:extLst>
              <a:ext uri="{FF2B5EF4-FFF2-40B4-BE49-F238E27FC236}">
                <a16:creationId xmlns:a16="http://schemas.microsoft.com/office/drawing/2014/main" id="{4C95EF34-EA03-973A-2527-81B504C5AE35}"/>
              </a:ext>
            </a:extLst>
          </p:cNvPr>
          <p:cNvSpPr txBox="1"/>
          <p:nvPr/>
        </p:nvSpPr>
        <p:spPr>
          <a:xfrm>
            <a:off x="9808633" y="965200"/>
            <a:ext cx="812800" cy="261610"/>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rPr>
              <a:t>11001</a:t>
            </a:r>
          </a:p>
        </p:txBody>
      </p:sp>
    </p:spTree>
    <p:extLst>
      <p:ext uri="{BB962C8B-B14F-4D97-AF65-F5344CB8AC3E}">
        <p14:creationId xmlns:p14="http://schemas.microsoft.com/office/powerpoint/2010/main" val="28080614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2DFE87A-94FB-E25C-82CB-55B9F5576796}"/>
              </a:ext>
            </a:extLst>
          </p:cNvPr>
          <p:cNvSpPr txBox="1"/>
          <p:nvPr/>
        </p:nvSpPr>
        <p:spPr>
          <a:xfrm>
            <a:off x="1248269" y="2978244"/>
            <a:ext cx="591882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Resources</a:t>
            </a:r>
          </a:p>
        </p:txBody>
      </p:sp>
      <p:graphicFrame>
        <p:nvGraphicFramePr>
          <p:cNvPr id="4" name="Table 5">
            <a:extLst>
              <a:ext uri="{FF2B5EF4-FFF2-40B4-BE49-F238E27FC236}">
                <a16:creationId xmlns:a16="http://schemas.microsoft.com/office/drawing/2014/main" id="{18F7DD28-C518-4AC2-2593-4D729D4822D3}"/>
              </a:ext>
            </a:extLst>
          </p:cNvPr>
          <p:cNvGraphicFramePr>
            <a:graphicFrameLocks noGrp="1"/>
          </p:cNvGraphicFramePr>
          <p:nvPr>
            <p:extLst>
              <p:ext uri="{D42A27DB-BD31-4B8C-83A1-F6EECF244321}">
                <p14:modId xmlns:p14="http://schemas.microsoft.com/office/powerpoint/2010/main" val="171436890"/>
              </p:ext>
            </p:extLst>
          </p:nvPr>
        </p:nvGraphicFramePr>
        <p:xfrm>
          <a:off x="7263261" y="118382"/>
          <a:ext cx="4773411" cy="6629400"/>
        </p:xfrm>
        <a:graphic>
          <a:graphicData uri="http://schemas.openxmlformats.org/drawingml/2006/table">
            <a:tbl>
              <a:tblPr firstRow="1" bandRow="1">
                <a:tableStyleId>{5C22544A-7EE6-4342-B048-85BDC9FD1C3A}</a:tableStyleId>
              </a:tblPr>
              <a:tblGrid>
                <a:gridCol w="1011451">
                  <a:extLst>
                    <a:ext uri="{9D8B030D-6E8A-4147-A177-3AD203B41FA5}">
                      <a16:colId xmlns:a16="http://schemas.microsoft.com/office/drawing/2014/main" val="250726202"/>
                    </a:ext>
                  </a:extLst>
                </a:gridCol>
                <a:gridCol w="2849646">
                  <a:extLst>
                    <a:ext uri="{9D8B030D-6E8A-4147-A177-3AD203B41FA5}">
                      <a16:colId xmlns:a16="http://schemas.microsoft.com/office/drawing/2014/main" val="2361609606"/>
                    </a:ext>
                  </a:extLst>
                </a:gridCol>
                <a:gridCol w="912314">
                  <a:extLst>
                    <a:ext uri="{9D8B030D-6E8A-4147-A177-3AD203B41FA5}">
                      <a16:colId xmlns:a16="http://schemas.microsoft.com/office/drawing/2014/main" val="4003720094"/>
                    </a:ext>
                  </a:extLst>
                </a:gridCol>
              </a:tblGrid>
              <a:tr h="215353">
                <a:tc gridSpan="2">
                  <a:txBody>
                    <a:bodyPr/>
                    <a:lstStyle/>
                    <a:p>
                      <a:r>
                        <a:rPr lang="en-GB" sz="900" dirty="0"/>
                        <a:t>Summary </a:t>
                      </a:r>
                    </a:p>
                  </a:txBody>
                  <a:tcPr>
                    <a:solidFill>
                      <a:srgbClr val="DB5000"/>
                    </a:solidFill>
                  </a:tcPr>
                </a:tc>
                <a:tc hMerge="1">
                  <a:txBody>
                    <a:bodyPr/>
                    <a:lstStyle/>
                    <a:p>
                      <a:endParaRPr lang="en-GB" dirty="0"/>
                    </a:p>
                  </a:txBody>
                  <a:tcPr>
                    <a:solidFill>
                      <a:srgbClr val="DB5000"/>
                    </a:solidFill>
                  </a:tcPr>
                </a:tc>
                <a:tc>
                  <a:txBody>
                    <a:bodyPr/>
                    <a:lstStyle/>
                    <a:p>
                      <a:r>
                        <a:rPr lang="en-GB" sz="900" dirty="0"/>
                        <a:t>Page No</a:t>
                      </a:r>
                    </a:p>
                  </a:txBody>
                  <a:tcPr>
                    <a:solidFill>
                      <a:srgbClr val="DB5000"/>
                    </a:solidFill>
                  </a:tcPr>
                </a:tc>
                <a:extLst>
                  <a:ext uri="{0D108BD9-81ED-4DB2-BD59-A6C34878D82A}">
                    <a16:rowId xmlns:a16="http://schemas.microsoft.com/office/drawing/2014/main" val="1379040451"/>
                  </a:ext>
                </a:extLst>
              </a:tr>
              <a:tr h="200061">
                <a:tc>
                  <a:txBody>
                    <a:bodyPr/>
                    <a:lstStyle/>
                    <a:p>
                      <a:r>
                        <a:rPr lang="en-GB" sz="900" b="1" dirty="0">
                          <a:solidFill>
                            <a:schemeClr val="bg1"/>
                          </a:solidFill>
                          <a:latin typeface="Lato Long"/>
                        </a:rPr>
                        <a:t>1.0</a:t>
                      </a:r>
                    </a:p>
                  </a:txBody>
                  <a:tcPr>
                    <a:solidFill>
                      <a:srgbClr val="3984A3"/>
                    </a:solidFill>
                  </a:tcPr>
                </a:tc>
                <a:tc>
                  <a:txBody>
                    <a:bodyPr/>
                    <a:lstStyle/>
                    <a:p>
                      <a:r>
                        <a:rPr lang="en-GB" sz="900" b="1" dirty="0">
                          <a:solidFill>
                            <a:schemeClr val="bg1"/>
                          </a:solidFill>
                          <a:latin typeface="Lato Long"/>
                        </a:rPr>
                        <a:t>Summary </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88537191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Corporate Objectives and Mission Statement</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142382326"/>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Market specific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30397707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ategory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43845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ustomer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9847186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hannel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9018709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Key Opportunities identified (B2B &amp; B2C)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27244981"/>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Priority Categories and Brand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56631578"/>
                  </a:ext>
                </a:extLst>
              </a:tr>
              <a:tr h="200061">
                <a:tc>
                  <a:txBody>
                    <a:bodyPr/>
                    <a:lstStyle/>
                    <a:p>
                      <a:r>
                        <a:rPr lang="en-GB" sz="900" dirty="0">
                          <a:solidFill>
                            <a:schemeClr val="bg1"/>
                          </a:solidFill>
                          <a:latin typeface="Lato Long"/>
                        </a:rPr>
                        <a:t>2.0</a:t>
                      </a:r>
                    </a:p>
                  </a:txBody>
                  <a:tcPr>
                    <a:solidFill>
                      <a:srgbClr val="3984A3"/>
                    </a:solidFill>
                  </a:tcPr>
                </a:tc>
                <a:tc>
                  <a:txBody>
                    <a:bodyPr/>
                    <a:lstStyle/>
                    <a:p>
                      <a:r>
                        <a:rPr lang="en-GB" sz="900" b="1" dirty="0">
                          <a:solidFill>
                            <a:schemeClr val="bg1"/>
                          </a:solidFill>
                          <a:latin typeface="Lato Long"/>
                        </a:rPr>
                        <a:t>Analysi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556882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Market sizing / Channel Sizing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40030120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Key Channels and Customer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6251086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petitive analysi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9047431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Opportunities and threat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191416563"/>
                  </a:ext>
                </a:extLst>
              </a:tr>
              <a:tr h="200061">
                <a:tc>
                  <a:txBody>
                    <a:bodyPr/>
                    <a:lstStyle/>
                    <a:p>
                      <a:r>
                        <a:rPr lang="en-GB" sz="900" dirty="0">
                          <a:solidFill>
                            <a:schemeClr val="bg1"/>
                          </a:solidFill>
                          <a:latin typeface="Lato Long"/>
                        </a:rPr>
                        <a:t>3.0</a:t>
                      </a:r>
                    </a:p>
                  </a:txBody>
                  <a:tcPr>
                    <a:solidFill>
                      <a:srgbClr val="3984A3"/>
                    </a:solidFill>
                  </a:tcPr>
                </a:tc>
                <a:tc>
                  <a:txBody>
                    <a:bodyPr/>
                    <a:lstStyle/>
                    <a:p>
                      <a:r>
                        <a:rPr lang="en-GB" sz="900" b="1" dirty="0">
                          <a:solidFill>
                            <a:schemeClr val="bg1"/>
                          </a:solidFill>
                          <a:latin typeface="Lato Long"/>
                        </a:rPr>
                        <a:t>Resource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5146695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Human resource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3108314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POS Resource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45114604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Investments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32402442"/>
                  </a:ext>
                </a:extLst>
              </a:tr>
              <a:tr h="200061">
                <a:tc>
                  <a:txBody>
                    <a:bodyPr/>
                    <a:lstStyle/>
                    <a:p>
                      <a:r>
                        <a:rPr lang="en-GB" sz="900" dirty="0">
                          <a:solidFill>
                            <a:schemeClr val="bg1"/>
                          </a:solidFill>
                          <a:latin typeface="Lato Long"/>
                        </a:rPr>
                        <a:t>4.0</a:t>
                      </a:r>
                    </a:p>
                  </a:txBody>
                  <a:tcPr>
                    <a:solidFill>
                      <a:srgbClr val="3984A3"/>
                    </a:solidFill>
                  </a:tcPr>
                </a:tc>
                <a:tc>
                  <a:txBody>
                    <a:bodyPr/>
                    <a:lstStyle/>
                    <a:p>
                      <a:r>
                        <a:rPr lang="en-GB" sz="900" b="1" dirty="0">
                          <a:solidFill>
                            <a:schemeClr val="bg1"/>
                          </a:solidFill>
                          <a:latin typeface="Lato Long"/>
                        </a:rPr>
                        <a:t>Tactic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01312479"/>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75000"/>
                              <a:lumOff val="25000"/>
                            </a:schemeClr>
                          </a:solidFill>
                          <a:latin typeface="Lato Long"/>
                        </a:rPr>
                        <a:t>Brands channels and tactic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6304355"/>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Branding Plans</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5008497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munication Plan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90853343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POS Plan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85700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High level tactical calendar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23390391"/>
                  </a:ext>
                </a:extLst>
              </a:tr>
              <a:tr h="200061">
                <a:tc>
                  <a:txBody>
                    <a:bodyPr/>
                    <a:lstStyle/>
                    <a:p>
                      <a:r>
                        <a:rPr lang="en-GB" sz="900" b="1" dirty="0">
                          <a:solidFill>
                            <a:schemeClr val="bg1"/>
                          </a:solidFill>
                          <a:latin typeface="Lato Long"/>
                        </a:rPr>
                        <a:t>5.0</a:t>
                      </a:r>
                    </a:p>
                  </a:txBody>
                  <a:tcPr>
                    <a:solidFill>
                      <a:schemeClr val="accent1"/>
                    </a:solidFill>
                  </a:tcPr>
                </a:tc>
                <a:tc>
                  <a:txBody>
                    <a:bodyPr/>
                    <a:lstStyle/>
                    <a:p>
                      <a:r>
                        <a:rPr lang="en-GB" sz="900" b="1" dirty="0">
                          <a:solidFill>
                            <a:schemeClr val="bg1"/>
                          </a:solidFill>
                          <a:latin typeface="Lato Long"/>
                        </a:rPr>
                        <a:t>P&amp;L</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703129503"/>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P&amp;L</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5752941"/>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Marketing ROI and Ratio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7789640"/>
                  </a:ext>
                </a:extLst>
              </a:tr>
              <a:tr h="200061">
                <a:tc>
                  <a:txBody>
                    <a:bodyPr/>
                    <a:lstStyle/>
                    <a:p>
                      <a:r>
                        <a:rPr lang="en-GB" sz="900" b="1" dirty="0">
                          <a:solidFill>
                            <a:schemeClr val="bg1"/>
                          </a:solidFill>
                          <a:latin typeface="Lato Long"/>
                        </a:rPr>
                        <a:t>6.0</a:t>
                      </a:r>
                    </a:p>
                  </a:txBody>
                  <a:tcPr>
                    <a:solidFill>
                      <a:schemeClr val="accent1"/>
                    </a:solidFill>
                  </a:tcPr>
                </a:tc>
                <a:tc>
                  <a:txBody>
                    <a:bodyPr/>
                    <a:lstStyle/>
                    <a:p>
                      <a:r>
                        <a:rPr lang="en-GB" sz="900" b="1" dirty="0">
                          <a:solidFill>
                            <a:schemeClr val="bg1"/>
                          </a:solidFill>
                          <a:latin typeface="Lato Long"/>
                        </a:rPr>
                        <a:t>Conclusions </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72979437"/>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Recommendations and Review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86498152"/>
                  </a:ext>
                </a:extLst>
              </a:tr>
            </a:tbl>
          </a:graphicData>
        </a:graphic>
      </p:graphicFrame>
    </p:spTree>
    <p:extLst>
      <p:ext uri="{BB962C8B-B14F-4D97-AF65-F5344CB8AC3E}">
        <p14:creationId xmlns:p14="http://schemas.microsoft.com/office/powerpoint/2010/main" val="288805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4EB956D-AD80-A706-780D-134A6DA069ED}"/>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Human Resource Plan </a:t>
            </a:r>
          </a:p>
        </p:txBody>
      </p:sp>
      <p:pic>
        <p:nvPicPr>
          <p:cNvPr id="4" name="Picture 3">
            <a:extLst>
              <a:ext uri="{FF2B5EF4-FFF2-40B4-BE49-F238E27FC236}">
                <a16:creationId xmlns:a16="http://schemas.microsoft.com/office/drawing/2014/main" id="{060E5F91-22E0-D632-8AE2-C8E39910A87A}"/>
              </a:ext>
            </a:extLst>
          </p:cNvPr>
          <p:cNvPicPr>
            <a:picLocks noChangeAspect="1"/>
          </p:cNvPicPr>
          <p:nvPr/>
        </p:nvPicPr>
        <p:blipFill>
          <a:blip r:embed="rId2"/>
          <a:stretch>
            <a:fillRect/>
          </a:stretch>
        </p:blipFill>
        <p:spPr>
          <a:xfrm>
            <a:off x="534254" y="1051684"/>
            <a:ext cx="11185133" cy="5021744"/>
          </a:xfrm>
          <a:prstGeom prst="rect">
            <a:avLst/>
          </a:prstGeom>
        </p:spPr>
      </p:pic>
    </p:spTree>
    <p:extLst>
      <p:ext uri="{BB962C8B-B14F-4D97-AF65-F5344CB8AC3E}">
        <p14:creationId xmlns:p14="http://schemas.microsoft.com/office/powerpoint/2010/main" val="18859840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4EB956D-AD80-A706-780D-134A6DA069ED}"/>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Human Resource Plan </a:t>
            </a:r>
          </a:p>
        </p:txBody>
      </p:sp>
      <p:pic>
        <p:nvPicPr>
          <p:cNvPr id="4" name="Picture 3">
            <a:extLst>
              <a:ext uri="{FF2B5EF4-FFF2-40B4-BE49-F238E27FC236}">
                <a16:creationId xmlns:a16="http://schemas.microsoft.com/office/drawing/2014/main" id="{24606BED-F248-8F1D-E9C9-3A9C80C9E403}"/>
              </a:ext>
            </a:extLst>
          </p:cNvPr>
          <p:cNvPicPr>
            <a:picLocks noChangeAspect="1"/>
          </p:cNvPicPr>
          <p:nvPr/>
        </p:nvPicPr>
        <p:blipFill>
          <a:blip r:embed="rId2"/>
          <a:stretch>
            <a:fillRect/>
          </a:stretch>
        </p:blipFill>
        <p:spPr>
          <a:xfrm>
            <a:off x="719191" y="941125"/>
            <a:ext cx="10784440" cy="5415429"/>
          </a:xfrm>
          <a:prstGeom prst="rect">
            <a:avLst/>
          </a:prstGeom>
        </p:spPr>
      </p:pic>
    </p:spTree>
    <p:extLst>
      <p:ext uri="{BB962C8B-B14F-4D97-AF65-F5344CB8AC3E}">
        <p14:creationId xmlns:p14="http://schemas.microsoft.com/office/powerpoint/2010/main" val="15831295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818E995-5E36-1A0E-3117-2223D7E5A0F4}"/>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Planning Exercise – SWOT Execution</a:t>
            </a:r>
          </a:p>
        </p:txBody>
      </p:sp>
      <p:pic>
        <p:nvPicPr>
          <p:cNvPr id="4" name="Picture 3">
            <a:extLst>
              <a:ext uri="{FF2B5EF4-FFF2-40B4-BE49-F238E27FC236}">
                <a16:creationId xmlns:a16="http://schemas.microsoft.com/office/drawing/2014/main" id="{91007229-032E-B0CD-6D1C-EF577A786FCB}"/>
              </a:ext>
            </a:extLst>
          </p:cNvPr>
          <p:cNvPicPr>
            <a:picLocks noChangeAspect="1"/>
          </p:cNvPicPr>
          <p:nvPr/>
        </p:nvPicPr>
        <p:blipFill>
          <a:blip r:embed="rId2"/>
          <a:stretch>
            <a:fillRect/>
          </a:stretch>
        </p:blipFill>
        <p:spPr>
          <a:xfrm>
            <a:off x="441788" y="1149773"/>
            <a:ext cx="11380342" cy="4665143"/>
          </a:xfrm>
          <a:prstGeom prst="rect">
            <a:avLst/>
          </a:prstGeom>
        </p:spPr>
      </p:pic>
    </p:spTree>
    <p:extLst>
      <p:ext uri="{BB962C8B-B14F-4D97-AF65-F5344CB8AC3E}">
        <p14:creationId xmlns:p14="http://schemas.microsoft.com/office/powerpoint/2010/main" val="30493269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0"/>
          <p:cNvSpPr>
            <a:spLocks/>
          </p:cNvSpPr>
          <p:nvPr/>
        </p:nvSpPr>
        <p:spPr bwMode="auto">
          <a:xfrm>
            <a:off x="6964890" y="0"/>
            <a:ext cx="5227110" cy="2595385"/>
          </a:xfrm>
          <a:custGeom>
            <a:avLst/>
            <a:gdLst>
              <a:gd name="T0" fmla="*/ 719 w 3287"/>
              <a:gd name="T1" fmla="*/ 0 h 1633"/>
              <a:gd name="T2" fmla="*/ 3287 w 3287"/>
              <a:gd name="T3" fmla="*/ 0 h 1633"/>
              <a:gd name="T4" fmla="*/ 3287 w 3287"/>
              <a:gd name="T5" fmla="*/ 0 h 1633"/>
              <a:gd name="T6" fmla="*/ 394 w 3287"/>
              <a:gd name="T7" fmla="*/ 1633 h 1633"/>
              <a:gd name="T8" fmla="*/ 334 w 3287"/>
              <a:gd name="T9" fmla="*/ 1538 h 1633"/>
              <a:gd name="T10" fmla="*/ 262 w 3287"/>
              <a:gd name="T11" fmla="*/ 1450 h 1633"/>
              <a:gd name="T12" fmla="*/ 183 w 3287"/>
              <a:gd name="T13" fmla="*/ 1369 h 1633"/>
              <a:gd name="T14" fmla="*/ 95 w 3287"/>
              <a:gd name="T15" fmla="*/ 1297 h 1633"/>
              <a:gd name="T16" fmla="*/ 0 w 3287"/>
              <a:gd name="T17" fmla="*/ 1234 h 1633"/>
              <a:gd name="T18" fmla="*/ 719 w 3287"/>
              <a:gd name="T19" fmla="*/ 0 h 1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7" h="1633">
                <a:moveTo>
                  <a:pt x="719" y="0"/>
                </a:moveTo>
                <a:lnTo>
                  <a:pt x="3287" y="0"/>
                </a:lnTo>
                <a:lnTo>
                  <a:pt x="3287" y="0"/>
                </a:lnTo>
                <a:lnTo>
                  <a:pt x="394" y="1633"/>
                </a:lnTo>
                <a:lnTo>
                  <a:pt x="334" y="1538"/>
                </a:lnTo>
                <a:lnTo>
                  <a:pt x="262" y="1450"/>
                </a:lnTo>
                <a:lnTo>
                  <a:pt x="183" y="1369"/>
                </a:lnTo>
                <a:lnTo>
                  <a:pt x="95" y="1297"/>
                </a:lnTo>
                <a:lnTo>
                  <a:pt x="0" y="1234"/>
                </a:lnTo>
                <a:lnTo>
                  <a:pt x="719"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46"/>
          <p:cNvSpPr>
            <a:spLocks/>
          </p:cNvSpPr>
          <p:nvPr/>
        </p:nvSpPr>
        <p:spPr bwMode="auto">
          <a:xfrm>
            <a:off x="4123396" y="0"/>
            <a:ext cx="1969432" cy="1953294"/>
          </a:xfrm>
          <a:custGeom>
            <a:avLst/>
            <a:gdLst>
              <a:gd name="T0" fmla="*/ 0 w 1238"/>
              <a:gd name="T1" fmla="*/ 0 h 1229"/>
              <a:gd name="T2" fmla="*/ 1238 w 1238"/>
              <a:gd name="T3" fmla="*/ 0 h 1229"/>
              <a:gd name="T4" fmla="*/ 1238 w 1238"/>
              <a:gd name="T5" fmla="*/ 1088 h 1229"/>
              <a:gd name="T6" fmla="*/ 1238 w 1238"/>
              <a:gd name="T7" fmla="*/ 1088 h 1229"/>
              <a:gd name="T8" fmla="*/ 1121 w 1238"/>
              <a:gd name="T9" fmla="*/ 1095 h 1229"/>
              <a:gd name="T10" fmla="*/ 1012 w 1238"/>
              <a:gd name="T11" fmla="*/ 1113 h 1229"/>
              <a:gd name="T12" fmla="*/ 903 w 1238"/>
              <a:gd name="T13" fmla="*/ 1141 h 1229"/>
              <a:gd name="T14" fmla="*/ 801 w 1238"/>
              <a:gd name="T15" fmla="*/ 1181 h 1229"/>
              <a:gd name="T16" fmla="*/ 703 w 1238"/>
              <a:gd name="T17" fmla="*/ 1229 h 1229"/>
              <a:gd name="T18" fmla="*/ 0 w 1238"/>
              <a:gd name="T19" fmla="*/ 0 h 1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8" h="1229">
                <a:moveTo>
                  <a:pt x="0" y="0"/>
                </a:moveTo>
                <a:lnTo>
                  <a:pt x="1238" y="0"/>
                </a:lnTo>
                <a:lnTo>
                  <a:pt x="1238" y="1088"/>
                </a:lnTo>
                <a:lnTo>
                  <a:pt x="1238" y="1088"/>
                </a:lnTo>
                <a:lnTo>
                  <a:pt x="1121" y="1095"/>
                </a:lnTo>
                <a:lnTo>
                  <a:pt x="1012" y="1113"/>
                </a:lnTo>
                <a:lnTo>
                  <a:pt x="903" y="1141"/>
                </a:lnTo>
                <a:lnTo>
                  <a:pt x="801" y="1181"/>
                </a:lnTo>
                <a:lnTo>
                  <a:pt x="703" y="1229"/>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9" name="Freeform 47"/>
          <p:cNvSpPr>
            <a:spLocks/>
          </p:cNvSpPr>
          <p:nvPr/>
        </p:nvSpPr>
        <p:spPr bwMode="auto">
          <a:xfrm>
            <a:off x="1589" y="3436144"/>
            <a:ext cx="4602235" cy="3437733"/>
          </a:xfrm>
          <a:custGeom>
            <a:avLst/>
            <a:gdLst>
              <a:gd name="T0" fmla="*/ 0 w 2893"/>
              <a:gd name="T1" fmla="*/ 0 h 2163"/>
              <a:gd name="T2" fmla="*/ 2753 w 2893"/>
              <a:gd name="T3" fmla="*/ 0 h 2163"/>
              <a:gd name="T4" fmla="*/ 2760 w 2893"/>
              <a:gd name="T5" fmla="*/ 114 h 2163"/>
              <a:gd name="T6" fmla="*/ 2777 w 2893"/>
              <a:gd name="T7" fmla="*/ 225 h 2163"/>
              <a:gd name="T8" fmla="*/ 2805 w 2893"/>
              <a:gd name="T9" fmla="*/ 330 h 2163"/>
              <a:gd name="T10" fmla="*/ 2844 w 2893"/>
              <a:gd name="T11" fmla="*/ 432 h 2163"/>
              <a:gd name="T12" fmla="*/ 2893 w 2893"/>
              <a:gd name="T13" fmla="*/ 529 h 2163"/>
              <a:gd name="T14" fmla="*/ 0 w 2893"/>
              <a:gd name="T15" fmla="*/ 2163 h 2163"/>
              <a:gd name="T16" fmla="*/ 0 w 2893"/>
              <a:gd name="T17" fmla="*/ 0 h 2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3">
                <a:moveTo>
                  <a:pt x="0" y="0"/>
                </a:moveTo>
                <a:lnTo>
                  <a:pt x="2753" y="0"/>
                </a:lnTo>
                <a:lnTo>
                  <a:pt x="2760" y="114"/>
                </a:lnTo>
                <a:lnTo>
                  <a:pt x="2777" y="225"/>
                </a:lnTo>
                <a:lnTo>
                  <a:pt x="2805" y="330"/>
                </a:lnTo>
                <a:lnTo>
                  <a:pt x="2844" y="432"/>
                </a:lnTo>
                <a:lnTo>
                  <a:pt x="2893" y="529"/>
                </a:lnTo>
                <a:lnTo>
                  <a:pt x="0" y="2163"/>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48"/>
          <p:cNvSpPr>
            <a:spLocks/>
          </p:cNvSpPr>
          <p:nvPr/>
        </p:nvSpPr>
        <p:spPr bwMode="auto">
          <a:xfrm>
            <a:off x="0" y="0"/>
            <a:ext cx="4602235" cy="3432964"/>
          </a:xfrm>
          <a:custGeom>
            <a:avLst/>
            <a:gdLst>
              <a:gd name="T0" fmla="*/ 0 w 2893"/>
              <a:gd name="T1" fmla="*/ 0 h 2160"/>
              <a:gd name="T2" fmla="*/ 2893 w 2893"/>
              <a:gd name="T3" fmla="*/ 1634 h 2160"/>
              <a:gd name="T4" fmla="*/ 2844 w 2893"/>
              <a:gd name="T5" fmla="*/ 1729 h 2160"/>
              <a:gd name="T6" fmla="*/ 2805 w 2893"/>
              <a:gd name="T7" fmla="*/ 1831 h 2160"/>
              <a:gd name="T8" fmla="*/ 2777 w 2893"/>
              <a:gd name="T9" fmla="*/ 1938 h 2160"/>
              <a:gd name="T10" fmla="*/ 2760 w 2893"/>
              <a:gd name="T11" fmla="*/ 2047 h 2160"/>
              <a:gd name="T12" fmla="*/ 2753 w 2893"/>
              <a:gd name="T13" fmla="*/ 2160 h 2160"/>
              <a:gd name="T14" fmla="*/ 0 w 2893"/>
              <a:gd name="T15" fmla="*/ 2160 h 2160"/>
              <a:gd name="T16" fmla="*/ 0 w 2893"/>
              <a:gd name="T17" fmla="*/ 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0">
                <a:moveTo>
                  <a:pt x="0" y="0"/>
                </a:moveTo>
                <a:lnTo>
                  <a:pt x="2893" y="1634"/>
                </a:lnTo>
                <a:lnTo>
                  <a:pt x="2844" y="1729"/>
                </a:lnTo>
                <a:lnTo>
                  <a:pt x="2805" y="1831"/>
                </a:lnTo>
                <a:lnTo>
                  <a:pt x="2777" y="1938"/>
                </a:lnTo>
                <a:lnTo>
                  <a:pt x="2760" y="2047"/>
                </a:lnTo>
                <a:lnTo>
                  <a:pt x="2753" y="2160"/>
                </a:lnTo>
                <a:lnTo>
                  <a:pt x="0" y="2160"/>
                </a:lnTo>
                <a:lnTo>
                  <a:pt x="0"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49"/>
          <p:cNvSpPr>
            <a:spLocks/>
          </p:cNvSpPr>
          <p:nvPr/>
        </p:nvSpPr>
        <p:spPr bwMode="auto">
          <a:xfrm>
            <a:off x="1588" y="1"/>
            <a:ext cx="5240152" cy="2600153"/>
          </a:xfrm>
          <a:custGeom>
            <a:avLst/>
            <a:gdLst>
              <a:gd name="T0" fmla="*/ 0 w 3294"/>
              <a:gd name="T1" fmla="*/ 0 h 1636"/>
              <a:gd name="T2" fmla="*/ 2591 w 3294"/>
              <a:gd name="T3" fmla="*/ 0 h 1636"/>
              <a:gd name="T4" fmla="*/ 3294 w 3294"/>
              <a:gd name="T5" fmla="*/ 1229 h 1636"/>
              <a:gd name="T6" fmla="*/ 3197 w 3294"/>
              <a:gd name="T7" fmla="*/ 1292 h 1636"/>
              <a:gd name="T8" fmla="*/ 3109 w 3294"/>
              <a:gd name="T9" fmla="*/ 1366 h 1636"/>
              <a:gd name="T10" fmla="*/ 3027 w 3294"/>
              <a:gd name="T11" fmla="*/ 1448 h 1636"/>
              <a:gd name="T12" fmla="*/ 2955 w 3294"/>
              <a:gd name="T13" fmla="*/ 1538 h 1636"/>
              <a:gd name="T14" fmla="*/ 2893 w 3294"/>
              <a:gd name="T15" fmla="*/ 1636 h 1636"/>
              <a:gd name="T16" fmla="*/ 0 w 3294"/>
              <a:gd name="T17" fmla="*/ 2 h 1636"/>
              <a:gd name="T18" fmla="*/ 0 w 3294"/>
              <a:gd name="T19" fmla="*/ 0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6">
                <a:moveTo>
                  <a:pt x="0" y="0"/>
                </a:moveTo>
                <a:lnTo>
                  <a:pt x="2591" y="0"/>
                </a:lnTo>
                <a:lnTo>
                  <a:pt x="3294" y="1229"/>
                </a:lnTo>
                <a:lnTo>
                  <a:pt x="3197" y="1292"/>
                </a:lnTo>
                <a:lnTo>
                  <a:pt x="3109" y="1366"/>
                </a:lnTo>
                <a:lnTo>
                  <a:pt x="3027" y="1448"/>
                </a:lnTo>
                <a:lnTo>
                  <a:pt x="2955" y="1538"/>
                </a:lnTo>
                <a:lnTo>
                  <a:pt x="2893" y="1636"/>
                </a:lnTo>
                <a:lnTo>
                  <a:pt x="0" y="2"/>
                </a:lnTo>
                <a:lnTo>
                  <a:pt x="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51"/>
          <p:cNvSpPr>
            <a:spLocks/>
          </p:cNvSpPr>
          <p:nvPr/>
        </p:nvSpPr>
        <p:spPr bwMode="auto">
          <a:xfrm>
            <a:off x="6092828" y="0"/>
            <a:ext cx="2004430" cy="1961240"/>
          </a:xfrm>
          <a:custGeom>
            <a:avLst/>
            <a:gdLst>
              <a:gd name="T0" fmla="*/ 0 w 1260"/>
              <a:gd name="T1" fmla="*/ 0 h 1234"/>
              <a:gd name="T2" fmla="*/ 1260 w 1260"/>
              <a:gd name="T3" fmla="*/ 0 h 1234"/>
              <a:gd name="T4" fmla="*/ 541 w 1260"/>
              <a:gd name="T5" fmla="*/ 1234 h 1234"/>
              <a:gd name="T6" fmla="*/ 443 w 1260"/>
              <a:gd name="T7" fmla="*/ 1183 h 1234"/>
              <a:gd name="T8" fmla="*/ 339 w 1260"/>
              <a:gd name="T9" fmla="*/ 1144 h 1234"/>
              <a:gd name="T10" fmla="*/ 229 w 1260"/>
              <a:gd name="T11" fmla="*/ 1113 h 1234"/>
              <a:gd name="T12" fmla="*/ 116 w 1260"/>
              <a:gd name="T13" fmla="*/ 1095 h 1234"/>
              <a:gd name="T14" fmla="*/ 0 w 1260"/>
              <a:gd name="T15" fmla="*/ 1088 h 1234"/>
              <a:gd name="T16" fmla="*/ 0 w 1260"/>
              <a:gd name="T1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0" h="1234">
                <a:moveTo>
                  <a:pt x="0" y="0"/>
                </a:moveTo>
                <a:lnTo>
                  <a:pt x="1260" y="0"/>
                </a:lnTo>
                <a:lnTo>
                  <a:pt x="541" y="1234"/>
                </a:lnTo>
                <a:lnTo>
                  <a:pt x="443" y="1183"/>
                </a:lnTo>
                <a:lnTo>
                  <a:pt x="339" y="1144"/>
                </a:lnTo>
                <a:lnTo>
                  <a:pt x="229" y="1113"/>
                </a:lnTo>
                <a:lnTo>
                  <a:pt x="116" y="1095"/>
                </a:lnTo>
                <a:lnTo>
                  <a:pt x="0" y="1088"/>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52"/>
          <p:cNvSpPr>
            <a:spLocks/>
          </p:cNvSpPr>
          <p:nvPr/>
        </p:nvSpPr>
        <p:spPr bwMode="auto">
          <a:xfrm>
            <a:off x="1589" y="4276901"/>
            <a:ext cx="5230607" cy="2596974"/>
          </a:xfrm>
          <a:custGeom>
            <a:avLst/>
            <a:gdLst>
              <a:gd name="T0" fmla="*/ 2893 w 3288"/>
              <a:gd name="T1" fmla="*/ 0 h 1634"/>
              <a:gd name="T2" fmla="*/ 2953 w 3288"/>
              <a:gd name="T3" fmla="*/ 96 h 1634"/>
              <a:gd name="T4" fmla="*/ 3025 w 3288"/>
              <a:gd name="T5" fmla="*/ 184 h 1634"/>
              <a:gd name="T6" fmla="*/ 3104 w 3288"/>
              <a:gd name="T7" fmla="*/ 265 h 1634"/>
              <a:gd name="T8" fmla="*/ 3192 w 3288"/>
              <a:gd name="T9" fmla="*/ 337 h 1634"/>
              <a:gd name="T10" fmla="*/ 3288 w 3288"/>
              <a:gd name="T11" fmla="*/ 400 h 1634"/>
              <a:gd name="T12" fmla="*/ 2568 w 3288"/>
              <a:gd name="T13" fmla="*/ 1634 h 1634"/>
              <a:gd name="T14" fmla="*/ 0 w 3288"/>
              <a:gd name="T15" fmla="*/ 1634 h 1634"/>
              <a:gd name="T16" fmla="*/ 0 w 3288"/>
              <a:gd name="T17" fmla="*/ 1634 h 1634"/>
              <a:gd name="T18" fmla="*/ 2893 w 3288"/>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8" h="1634">
                <a:moveTo>
                  <a:pt x="2893" y="0"/>
                </a:moveTo>
                <a:lnTo>
                  <a:pt x="2953" y="96"/>
                </a:lnTo>
                <a:lnTo>
                  <a:pt x="3025" y="184"/>
                </a:lnTo>
                <a:lnTo>
                  <a:pt x="3104" y="265"/>
                </a:lnTo>
                <a:lnTo>
                  <a:pt x="3192" y="337"/>
                </a:lnTo>
                <a:lnTo>
                  <a:pt x="3288" y="400"/>
                </a:lnTo>
                <a:lnTo>
                  <a:pt x="2568" y="1634"/>
                </a:lnTo>
                <a:lnTo>
                  <a:pt x="0" y="1634"/>
                </a:lnTo>
                <a:lnTo>
                  <a:pt x="0" y="1634"/>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53"/>
          <p:cNvSpPr>
            <a:spLocks/>
          </p:cNvSpPr>
          <p:nvPr/>
        </p:nvSpPr>
        <p:spPr bwMode="auto">
          <a:xfrm>
            <a:off x="7589765" y="0"/>
            <a:ext cx="4602235" cy="3436143"/>
          </a:xfrm>
          <a:custGeom>
            <a:avLst/>
            <a:gdLst>
              <a:gd name="T0" fmla="*/ 2893 w 2893"/>
              <a:gd name="T1" fmla="*/ 0 h 2162"/>
              <a:gd name="T2" fmla="*/ 2893 w 2893"/>
              <a:gd name="T3" fmla="*/ 2162 h 2162"/>
              <a:gd name="T4" fmla="*/ 140 w 2893"/>
              <a:gd name="T5" fmla="*/ 2162 h 2162"/>
              <a:gd name="T6" fmla="*/ 133 w 2893"/>
              <a:gd name="T7" fmla="*/ 2049 h 2162"/>
              <a:gd name="T8" fmla="*/ 116 w 2893"/>
              <a:gd name="T9" fmla="*/ 1940 h 2162"/>
              <a:gd name="T10" fmla="*/ 86 w 2893"/>
              <a:gd name="T11" fmla="*/ 1833 h 2162"/>
              <a:gd name="T12" fmla="*/ 49 w 2893"/>
              <a:gd name="T13" fmla="*/ 1731 h 2162"/>
              <a:gd name="T14" fmla="*/ 0 w 2893"/>
              <a:gd name="T15" fmla="*/ 1633 h 2162"/>
              <a:gd name="T16" fmla="*/ 2893 w 2893"/>
              <a:gd name="T17" fmla="*/ 0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2">
                <a:moveTo>
                  <a:pt x="2893" y="0"/>
                </a:moveTo>
                <a:lnTo>
                  <a:pt x="2893" y="2162"/>
                </a:lnTo>
                <a:lnTo>
                  <a:pt x="140" y="2162"/>
                </a:lnTo>
                <a:lnTo>
                  <a:pt x="133" y="2049"/>
                </a:lnTo>
                <a:lnTo>
                  <a:pt x="116" y="1940"/>
                </a:lnTo>
                <a:lnTo>
                  <a:pt x="86" y="1833"/>
                </a:lnTo>
                <a:lnTo>
                  <a:pt x="49" y="1731"/>
                </a:lnTo>
                <a:lnTo>
                  <a:pt x="0" y="1633"/>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54"/>
          <p:cNvSpPr>
            <a:spLocks/>
          </p:cNvSpPr>
          <p:nvPr/>
        </p:nvSpPr>
        <p:spPr bwMode="auto">
          <a:xfrm>
            <a:off x="6942324" y="4276901"/>
            <a:ext cx="5240152" cy="2596974"/>
          </a:xfrm>
          <a:custGeom>
            <a:avLst/>
            <a:gdLst>
              <a:gd name="T0" fmla="*/ 401 w 3294"/>
              <a:gd name="T1" fmla="*/ 0 h 1634"/>
              <a:gd name="T2" fmla="*/ 3294 w 3294"/>
              <a:gd name="T3" fmla="*/ 1632 h 1634"/>
              <a:gd name="T4" fmla="*/ 3294 w 3294"/>
              <a:gd name="T5" fmla="*/ 1634 h 1634"/>
              <a:gd name="T6" fmla="*/ 703 w 3294"/>
              <a:gd name="T7" fmla="*/ 1634 h 1634"/>
              <a:gd name="T8" fmla="*/ 0 w 3294"/>
              <a:gd name="T9" fmla="*/ 404 h 1634"/>
              <a:gd name="T10" fmla="*/ 97 w 3294"/>
              <a:gd name="T11" fmla="*/ 341 h 1634"/>
              <a:gd name="T12" fmla="*/ 185 w 3294"/>
              <a:gd name="T13" fmla="*/ 270 h 1634"/>
              <a:gd name="T14" fmla="*/ 267 w 3294"/>
              <a:gd name="T15" fmla="*/ 186 h 1634"/>
              <a:gd name="T16" fmla="*/ 339 w 3294"/>
              <a:gd name="T17" fmla="*/ 98 h 1634"/>
              <a:gd name="T18" fmla="*/ 401 w 3294"/>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4">
                <a:moveTo>
                  <a:pt x="401" y="0"/>
                </a:moveTo>
                <a:lnTo>
                  <a:pt x="3294" y="1632"/>
                </a:lnTo>
                <a:lnTo>
                  <a:pt x="3294" y="1634"/>
                </a:lnTo>
                <a:lnTo>
                  <a:pt x="703" y="1634"/>
                </a:lnTo>
                <a:lnTo>
                  <a:pt x="0" y="404"/>
                </a:lnTo>
                <a:lnTo>
                  <a:pt x="97" y="341"/>
                </a:lnTo>
                <a:lnTo>
                  <a:pt x="185" y="270"/>
                </a:lnTo>
                <a:lnTo>
                  <a:pt x="267" y="186"/>
                </a:lnTo>
                <a:lnTo>
                  <a:pt x="339" y="98"/>
                </a:lnTo>
                <a:lnTo>
                  <a:pt x="401"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55"/>
          <p:cNvSpPr>
            <a:spLocks/>
          </p:cNvSpPr>
          <p:nvPr/>
        </p:nvSpPr>
        <p:spPr bwMode="auto">
          <a:xfrm>
            <a:off x="7580242" y="3436143"/>
            <a:ext cx="4602235" cy="3434554"/>
          </a:xfrm>
          <a:custGeom>
            <a:avLst/>
            <a:gdLst>
              <a:gd name="T0" fmla="*/ 140 w 2893"/>
              <a:gd name="T1" fmla="*/ 0 h 2161"/>
              <a:gd name="T2" fmla="*/ 2893 w 2893"/>
              <a:gd name="T3" fmla="*/ 0 h 2161"/>
              <a:gd name="T4" fmla="*/ 2893 w 2893"/>
              <a:gd name="T5" fmla="*/ 2161 h 2161"/>
              <a:gd name="T6" fmla="*/ 0 w 2893"/>
              <a:gd name="T7" fmla="*/ 529 h 2161"/>
              <a:gd name="T8" fmla="*/ 49 w 2893"/>
              <a:gd name="T9" fmla="*/ 432 h 2161"/>
              <a:gd name="T10" fmla="*/ 86 w 2893"/>
              <a:gd name="T11" fmla="*/ 330 h 2161"/>
              <a:gd name="T12" fmla="*/ 116 w 2893"/>
              <a:gd name="T13" fmla="*/ 225 h 2161"/>
              <a:gd name="T14" fmla="*/ 133 w 2893"/>
              <a:gd name="T15" fmla="*/ 114 h 2161"/>
              <a:gd name="T16" fmla="*/ 140 w 2893"/>
              <a:gd name="T17" fmla="*/ 0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1">
                <a:moveTo>
                  <a:pt x="140" y="0"/>
                </a:moveTo>
                <a:lnTo>
                  <a:pt x="2893" y="0"/>
                </a:lnTo>
                <a:lnTo>
                  <a:pt x="2893" y="2161"/>
                </a:lnTo>
                <a:lnTo>
                  <a:pt x="0" y="529"/>
                </a:lnTo>
                <a:lnTo>
                  <a:pt x="49" y="432"/>
                </a:lnTo>
                <a:lnTo>
                  <a:pt x="86" y="330"/>
                </a:lnTo>
                <a:lnTo>
                  <a:pt x="116" y="225"/>
                </a:lnTo>
                <a:lnTo>
                  <a:pt x="133" y="114"/>
                </a:lnTo>
                <a:lnTo>
                  <a:pt x="14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56"/>
          <p:cNvSpPr>
            <a:spLocks/>
          </p:cNvSpPr>
          <p:nvPr/>
        </p:nvSpPr>
        <p:spPr bwMode="auto">
          <a:xfrm>
            <a:off x="6092829" y="4918993"/>
            <a:ext cx="1967841" cy="1954883"/>
          </a:xfrm>
          <a:custGeom>
            <a:avLst/>
            <a:gdLst>
              <a:gd name="T0" fmla="*/ 534 w 1237"/>
              <a:gd name="T1" fmla="*/ 0 h 1230"/>
              <a:gd name="T2" fmla="*/ 1237 w 1237"/>
              <a:gd name="T3" fmla="*/ 1230 h 1230"/>
              <a:gd name="T4" fmla="*/ 0 w 1237"/>
              <a:gd name="T5" fmla="*/ 1230 h 1230"/>
              <a:gd name="T6" fmla="*/ 0 w 1237"/>
              <a:gd name="T7" fmla="*/ 142 h 1230"/>
              <a:gd name="T8" fmla="*/ 113 w 1237"/>
              <a:gd name="T9" fmla="*/ 135 h 1230"/>
              <a:gd name="T10" fmla="*/ 225 w 1237"/>
              <a:gd name="T11" fmla="*/ 118 h 1230"/>
              <a:gd name="T12" fmla="*/ 334 w 1237"/>
              <a:gd name="T13" fmla="*/ 88 h 1230"/>
              <a:gd name="T14" fmla="*/ 436 w 1237"/>
              <a:gd name="T15" fmla="*/ 49 h 1230"/>
              <a:gd name="T16" fmla="*/ 534 w 1237"/>
              <a:gd name="T17" fmla="*/ 0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7" h="1230">
                <a:moveTo>
                  <a:pt x="534" y="0"/>
                </a:moveTo>
                <a:lnTo>
                  <a:pt x="1237" y="1230"/>
                </a:lnTo>
                <a:lnTo>
                  <a:pt x="0" y="1230"/>
                </a:lnTo>
                <a:lnTo>
                  <a:pt x="0" y="142"/>
                </a:lnTo>
                <a:lnTo>
                  <a:pt x="113" y="135"/>
                </a:lnTo>
                <a:lnTo>
                  <a:pt x="225" y="118"/>
                </a:lnTo>
                <a:lnTo>
                  <a:pt x="334" y="88"/>
                </a:lnTo>
                <a:lnTo>
                  <a:pt x="436" y="49"/>
                </a:lnTo>
                <a:lnTo>
                  <a:pt x="534"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57"/>
          <p:cNvSpPr>
            <a:spLocks/>
          </p:cNvSpPr>
          <p:nvPr/>
        </p:nvSpPr>
        <p:spPr bwMode="auto">
          <a:xfrm>
            <a:off x="4086808" y="4912635"/>
            <a:ext cx="2006021" cy="1961240"/>
          </a:xfrm>
          <a:custGeom>
            <a:avLst/>
            <a:gdLst>
              <a:gd name="T0" fmla="*/ 720 w 1261"/>
              <a:gd name="T1" fmla="*/ 0 h 1234"/>
              <a:gd name="T2" fmla="*/ 817 w 1261"/>
              <a:gd name="T3" fmla="*/ 51 h 1234"/>
              <a:gd name="T4" fmla="*/ 922 w 1261"/>
              <a:gd name="T5" fmla="*/ 90 h 1234"/>
              <a:gd name="T6" fmla="*/ 1031 w 1261"/>
              <a:gd name="T7" fmla="*/ 120 h 1234"/>
              <a:gd name="T8" fmla="*/ 1144 w 1261"/>
              <a:gd name="T9" fmla="*/ 139 h 1234"/>
              <a:gd name="T10" fmla="*/ 1261 w 1261"/>
              <a:gd name="T11" fmla="*/ 146 h 1234"/>
              <a:gd name="T12" fmla="*/ 1261 w 1261"/>
              <a:gd name="T13" fmla="*/ 146 h 1234"/>
              <a:gd name="T14" fmla="*/ 1261 w 1261"/>
              <a:gd name="T15" fmla="*/ 1234 h 1234"/>
              <a:gd name="T16" fmla="*/ 0 w 1261"/>
              <a:gd name="T17" fmla="*/ 1234 h 1234"/>
              <a:gd name="T18" fmla="*/ 720 w 1261"/>
              <a:gd name="T19"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1" h="1234">
                <a:moveTo>
                  <a:pt x="720" y="0"/>
                </a:moveTo>
                <a:lnTo>
                  <a:pt x="817" y="51"/>
                </a:lnTo>
                <a:lnTo>
                  <a:pt x="922" y="90"/>
                </a:lnTo>
                <a:lnTo>
                  <a:pt x="1031" y="120"/>
                </a:lnTo>
                <a:lnTo>
                  <a:pt x="1144" y="139"/>
                </a:lnTo>
                <a:lnTo>
                  <a:pt x="1261" y="146"/>
                </a:lnTo>
                <a:lnTo>
                  <a:pt x="1261" y="146"/>
                </a:lnTo>
                <a:lnTo>
                  <a:pt x="1261" y="1234"/>
                </a:lnTo>
                <a:lnTo>
                  <a:pt x="0" y="1234"/>
                </a:lnTo>
                <a:lnTo>
                  <a:pt x="72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3" name="TextBox 82"/>
          <p:cNvSpPr txBox="1"/>
          <p:nvPr/>
        </p:nvSpPr>
        <p:spPr>
          <a:xfrm>
            <a:off x="7981138" y="459917"/>
            <a:ext cx="2597962" cy="784830"/>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Performance indicator, a quantifiable measure of performance over time versus a specific objective.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6" name="TextBox 85"/>
          <p:cNvSpPr txBox="1"/>
          <p:nvPr/>
        </p:nvSpPr>
        <p:spPr>
          <a:xfrm>
            <a:off x="9033933" y="1927613"/>
            <a:ext cx="298026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Strategic </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hlinkClick r:id="rId2" action="ppaction://hlinkfile">
                  <a:extLst>
                    <a:ext uri="{A12FA001-AC4F-418D-AE19-62706E023703}">
                      <ahyp:hlinkClr xmlns:ahyp="http://schemas.microsoft.com/office/drawing/2018/hyperlinkcolor" val="tx"/>
                    </a:ext>
                  </a:extLst>
                </a:hlinkClick>
              </a:rPr>
              <a:t>tools</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hese tools are  recognised the world over in business schools, consulting firms and companies who plan strategically.</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  </a:t>
            </a:r>
            <a:endPar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9" name="TextBox 88"/>
          <p:cNvSpPr txBox="1"/>
          <p:nvPr/>
        </p:nvSpPr>
        <p:spPr>
          <a:xfrm>
            <a:off x="9144000" y="3826646"/>
            <a:ext cx="2921000" cy="120032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 </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s functional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or subjec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dicators acros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variety off situation</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to enable performance o</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f</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situational evaluation versu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ligned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tandard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TextBox 94"/>
          <p:cNvSpPr txBox="1"/>
          <p:nvPr/>
        </p:nvSpPr>
        <p:spPr>
          <a:xfrm>
            <a:off x="7806267" y="5371356"/>
            <a:ext cx="2887133" cy="1200329"/>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ssessments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re designed around specific areas to conduct reviews  and</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will center around a benchmark reviewing individuals or fun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8" name="TextBox 97"/>
          <p:cNvSpPr txBox="1"/>
          <p:nvPr/>
        </p:nvSpPr>
        <p:spPr>
          <a:xfrm>
            <a:off x="4559300" y="5782503"/>
            <a:ext cx="1612901"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6D7F"/>
                </a:solidFill>
                <a:effectLst/>
                <a:uLnTx/>
                <a:uFillTx/>
                <a:latin typeface="Poppins" panose="00000500000000000000" pitchFamily="2" charset="0"/>
                <a:ea typeface="Lato light" panose="020F0502020204030203" pitchFamily="34" charset="0"/>
                <a:cs typeface="Poppins" panose="00000500000000000000" pitchFamily="2"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round achieving milestones in a sequential manner.</a:t>
            </a:r>
            <a:endPar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1" name="TextBox 100"/>
          <p:cNvSpPr txBox="1"/>
          <p:nvPr/>
        </p:nvSpPr>
        <p:spPr>
          <a:xfrm>
            <a:off x="1574799" y="5464198"/>
            <a:ext cx="27093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calculate the right ratios for businesses looking for benchmarks in a variety of situations</a:t>
            </a:r>
            <a:endPar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4" name="TextBox 103"/>
          <p:cNvSpPr txBox="1"/>
          <p:nvPr/>
        </p:nvSpPr>
        <p:spPr>
          <a:xfrm>
            <a:off x="271422" y="3850604"/>
            <a:ext cx="3089844"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ool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teractive excel tools on specific business areas based on your data inputs delivered in a workbook model with instru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7" name="TextBox 106"/>
          <p:cNvSpPr txBox="1"/>
          <p:nvPr/>
        </p:nvSpPr>
        <p:spPr>
          <a:xfrm>
            <a:off x="2058535" y="500688"/>
            <a:ext cx="2504997" cy="80021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emplates are designed based gather information in a structured manner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10" name="TextBox 109"/>
          <p:cNvSpPr txBox="1"/>
          <p:nvPr/>
        </p:nvSpPr>
        <p:spPr>
          <a:xfrm>
            <a:off x="161693" y="1966208"/>
            <a:ext cx="2755073"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Content </a:t>
            </a:r>
            <a:r>
              <a:rPr kumimoji="0" lang="en-GB" sz="1200" b="1" i="0" u="sng"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Modu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Best practice material in power point for use as a knowledge base in business training , planning and execution . </a:t>
            </a:r>
          </a:p>
        </p:txBody>
      </p:sp>
      <p:sp>
        <p:nvSpPr>
          <p:cNvPr id="113" name="TextBox 112"/>
          <p:cNvSpPr txBox="1"/>
          <p:nvPr/>
        </p:nvSpPr>
        <p:spPr>
          <a:xfrm>
            <a:off x="4521201" y="196208"/>
            <a:ext cx="1756832" cy="113877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Description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velop roles clearly and completely  across varying levels of experience</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 name="Group 1"/>
          <p:cNvGrpSpPr/>
          <p:nvPr/>
        </p:nvGrpSpPr>
        <p:grpSpPr>
          <a:xfrm>
            <a:off x="4095967" y="1429565"/>
            <a:ext cx="4011612" cy="4019514"/>
            <a:chOff x="4379520" y="1716091"/>
            <a:chExt cx="3421848" cy="3428588"/>
          </a:xfrm>
        </p:grpSpPr>
        <p:sp>
          <p:nvSpPr>
            <p:cNvPr id="60" name="Freeform 58"/>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283" name="Group 282"/>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5" name="Freeform 64"/>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65"/>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66"/>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67"/>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68"/>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69"/>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70"/>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71"/>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72"/>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73"/>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74"/>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Freeform 75"/>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9" name="Freeform 63"/>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182" name="TextBox 181"/>
          <p:cNvSpPr txBox="1"/>
          <p:nvPr/>
        </p:nvSpPr>
        <p:spPr>
          <a:xfrm>
            <a:off x="6129867" y="204676"/>
            <a:ext cx="15028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raft your business agreements across a variety of area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3" name="TextBox 182"/>
          <p:cNvSpPr txBox="1"/>
          <p:nvPr/>
        </p:nvSpPr>
        <p:spPr>
          <a:xfrm>
            <a:off x="5952071" y="5769804"/>
            <a:ext cx="1790700" cy="969496"/>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Research tools for sales and marketing engagement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C95593B7-A4B8-69EB-2850-670375FC25FD}"/>
              </a:ext>
            </a:extLst>
          </p:cNvPr>
          <p:cNvGrpSpPr/>
          <p:nvPr/>
        </p:nvGrpSpPr>
        <p:grpSpPr>
          <a:xfrm>
            <a:off x="6327232" y="1649485"/>
            <a:ext cx="405418" cy="446818"/>
            <a:chOff x="-1206500" y="2587625"/>
            <a:chExt cx="1133475" cy="1247776"/>
          </a:xfrm>
        </p:grpSpPr>
        <p:sp>
          <p:nvSpPr>
            <p:cNvPr id="4" name="Freeform 68">
              <a:extLst>
                <a:ext uri="{FF2B5EF4-FFF2-40B4-BE49-F238E27FC236}">
                  <a16:creationId xmlns:a16="http://schemas.microsoft.com/office/drawing/2014/main" id="{F7F5750A-8ABE-4386-BD71-BDCC31B20F49}"/>
                </a:ext>
              </a:extLst>
            </p:cNvPr>
            <p:cNvSpPr>
              <a:spLocks/>
            </p:cNvSpPr>
            <p:nvPr/>
          </p:nvSpPr>
          <p:spPr bwMode="auto">
            <a:xfrm>
              <a:off x="-1074738" y="2587625"/>
              <a:ext cx="268288" cy="268288"/>
            </a:xfrm>
            <a:custGeom>
              <a:avLst/>
              <a:gdLst>
                <a:gd name="T0" fmla="*/ 423 w 847"/>
                <a:gd name="T1" fmla="*/ 0 h 845"/>
                <a:gd name="T2" fmla="*/ 423 w 847"/>
                <a:gd name="T3" fmla="*/ 0 h 845"/>
                <a:gd name="T4" fmla="*/ 476 w 847"/>
                <a:gd name="T5" fmla="*/ 3 h 845"/>
                <a:gd name="T6" fmla="*/ 527 w 847"/>
                <a:gd name="T7" fmla="*/ 13 h 845"/>
                <a:gd name="T8" fmla="*/ 577 w 847"/>
                <a:gd name="T9" fmla="*/ 29 h 845"/>
                <a:gd name="T10" fmla="*/ 623 w 847"/>
                <a:gd name="T11" fmla="*/ 49 h 845"/>
                <a:gd name="T12" fmla="*/ 665 w 847"/>
                <a:gd name="T13" fmla="*/ 76 h 845"/>
                <a:gd name="T14" fmla="*/ 705 w 847"/>
                <a:gd name="T15" fmla="*/ 106 h 845"/>
                <a:gd name="T16" fmla="*/ 740 w 847"/>
                <a:gd name="T17" fmla="*/ 142 h 845"/>
                <a:gd name="T18" fmla="*/ 770 w 847"/>
                <a:gd name="T19" fmla="*/ 181 h 845"/>
                <a:gd name="T20" fmla="*/ 797 w 847"/>
                <a:gd name="T21" fmla="*/ 223 h 845"/>
                <a:gd name="T22" fmla="*/ 819 w 847"/>
                <a:gd name="T23" fmla="*/ 269 h 845"/>
                <a:gd name="T24" fmla="*/ 833 w 847"/>
                <a:gd name="T25" fmla="*/ 319 h 845"/>
                <a:gd name="T26" fmla="*/ 843 w 847"/>
                <a:gd name="T27" fmla="*/ 370 h 845"/>
                <a:gd name="T28" fmla="*/ 847 w 847"/>
                <a:gd name="T29" fmla="*/ 423 h 845"/>
                <a:gd name="T30" fmla="*/ 843 w 847"/>
                <a:gd name="T31" fmla="*/ 476 h 845"/>
                <a:gd name="T32" fmla="*/ 833 w 847"/>
                <a:gd name="T33" fmla="*/ 527 h 845"/>
                <a:gd name="T34" fmla="*/ 819 w 847"/>
                <a:gd name="T35" fmla="*/ 575 h 845"/>
                <a:gd name="T36" fmla="*/ 797 w 847"/>
                <a:gd name="T37" fmla="*/ 621 h 845"/>
                <a:gd name="T38" fmla="*/ 770 w 847"/>
                <a:gd name="T39" fmla="*/ 665 h 845"/>
                <a:gd name="T40" fmla="*/ 740 w 847"/>
                <a:gd name="T41" fmla="*/ 703 h 845"/>
                <a:gd name="T42" fmla="*/ 705 w 847"/>
                <a:gd name="T43" fmla="*/ 739 h 845"/>
                <a:gd name="T44" fmla="*/ 665 w 847"/>
                <a:gd name="T45" fmla="*/ 770 h 845"/>
                <a:gd name="T46" fmla="*/ 623 w 847"/>
                <a:gd name="T47" fmla="*/ 797 h 845"/>
                <a:gd name="T48" fmla="*/ 577 w 847"/>
                <a:gd name="T49" fmla="*/ 817 h 845"/>
                <a:gd name="T50" fmla="*/ 527 w 847"/>
                <a:gd name="T51" fmla="*/ 833 h 845"/>
                <a:gd name="T52" fmla="*/ 476 w 847"/>
                <a:gd name="T53" fmla="*/ 843 h 845"/>
                <a:gd name="T54" fmla="*/ 423 w 847"/>
                <a:gd name="T55" fmla="*/ 845 h 845"/>
                <a:gd name="T56" fmla="*/ 369 w 847"/>
                <a:gd name="T57" fmla="*/ 843 h 845"/>
                <a:gd name="T58" fmla="*/ 318 w 847"/>
                <a:gd name="T59" fmla="*/ 833 h 845"/>
                <a:gd name="T60" fmla="*/ 270 w 847"/>
                <a:gd name="T61" fmla="*/ 817 h 845"/>
                <a:gd name="T62" fmla="*/ 224 w 847"/>
                <a:gd name="T63" fmla="*/ 797 h 845"/>
                <a:gd name="T64" fmla="*/ 181 w 847"/>
                <a:gd name="T65" fmla="*/ 770 h 845"/>
                <a:gd name="T66" fmla="*/ 141 w 847"/>
                <a:gd name="T67" fmla="*/ 739 h 845"/>
                <a:gd name="T68" fmla="*/ 106 w 847"/>
                <a:gd name="T69" fmla="*/ 703 h 845"/>
                <a:gd name="T70" fmla="*/ 75 w 847"/>
                <a:gd name="T71" fmla="*/ 665 h 845"/>
                <a:gd name="T72" fmla="*/ 49 w 847"/>
                <a:gd name="T73" fmla="*/ 621 h 845"/>
                <a:gd name="T74" fmla="*/ 27 w 847"/>
                <a:gd name="T75" fmla="*/ 575 h 845"/>
                <a:gd name="T76" fmla="*/ 12 w 847"/>
                <a:gd name="T77" fmla="*/ 527 h 845"/>
                <a:gd name="T78" fmla="*/ 2 w 847"/>
                <a:gd name="T79" fmla="*/ 476 h 845"/>
                <a:gd name="T80" fmla="*/ 0 w 847"/>
                <a:gd name="T81" fmla="*/ 423 h 845"/>
                <a:gd name="T82" fmla="*/ 2 w 847"/>
                <a:gd name="T83" fmla="*/ 370 h 845"/>
                <a:gd name="T84" fmla="*/ 12 w 847"/>
                <a:gd name="T85" fmla="*/ 319 h 845"/>
                <a:gd name="T86" fmla="*/ 27 w 847"/>
                <a:gd name="T87" fmla="*/ 269 h 845"/>
                <a:gd name="T88" fmla="*/ 49 w 847"/>
                <a:gd name="T89" fmla="*/ 223 h 845"/>
                <a:gd name="T90" fmla="*/ 75 w 847"/>
                <a:gd name="T91" fmla="*/ 181 h 845"/>
                <a:gd name="T92" fmla="*/ 106 w 847"/>
                <a:gd name="T93" fmla="*/ 142 h 845"/>
                <a:gd name="T94" fmla="*/ 141 w 847"/>
                <a:gd name="T95" fmla="*/ 106 h 845"/>
                <a:gd name="T96" fmla="*/ 181 w 847"/>
                <a:gd name="T97" fmla="*/ 76 h 845"/>
                <a:gd name="T98" fmla="*/ 224 w 847"/>
                <a:gd name="T99" fmla="*/ 49 h 845"/>
                <a:gd name="T100" fmla="*/ 270 w 847"/>
                <a:gd name="T101" fmla="*/ 29 h 845"/>
                <a:gd name="T102" fmla="*/ 318 w 847"/>
                <a:gd name="T103" fmla="*/ 13 h 845"/>
                <a:gd name="T104" fmla="*/ 369 w 847"/>
                <a:gd name="T105" fmla="*/ 3 h 845"/>
                <a:gd name="T106" fmla="*/ 423 w 847"/>
                <a:gd name="T107"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7" h="845">
                  <a:moveTo>
                    <a:pt x="423" y="0"/>
                  </a:moveTo>
                  <a:lnTo>
                    <a:pt x="423" y="0"/>
                  </a:lnTo>
                  <a:lnTo>
                    <a:pt x="476" y="3"/>
                  </a:lnTo>
                  <a:lnTo>
                    <a:pt x="527" y="13"/>
                  </a:lnTo>
                  <a:lnTo>
                    <a:pt x="577" y="29"/>
                  </a:lnTo>
                  <a:lnTo>
                    <a:pt x="623" y="49"/>
                  </a:lnTo>
                  <a:lnTo>
                    <a:pt x="665" y="76"/>
                  </a:lnTo>
                  <a:lnTo>
                    <a:pt x="705" y="106"/>
                  </a:lnTo>
                  <a:lnTo>
                    <a:pt x="740" y="142"/>
                  </a:lnTo>
                  <a:lnTo>
                    <a:pt x="770" y="181"/>
                  </a:lnTo>
                  <a:lnTo>
                    <a:pt x="797" y="223"/>
                  </a:lnTo>
                  <a:lnTo>
                    <a:pt x="819" y="269"/>
                  </a:lnTo>
                  <a:lnTo>
                    <a:pt x="833" y="319"/>
                  </a:lnTo>
                  <a:lnTo>
                    <a:pt x="843" y="370"/>
                  </a:lnTo>
                  <a:lnTo>
                    <a:pt x="847" y="423"/>
                  </a:lnTo>
                  <a:lnTo>
                    <a:pt x="843" y="476"/>
                  </a:lnTo>
                  <a:lnTo>
                    <a:pt x="833" y="527"/>
                  </a:lnTo>
                  <a:lnTo>
                    <a:pt x="819" y="575"/>
                  </a:lnTo>
                  <a:lnTo>
                    <a:pt x="797" y="621"/>
                  </a:lnTo>
                  <a:lnTo>
                    <a:pt x="770" y="665"/>
                  </a:lnTo>
                  <a:lnTo>
                    <a:pt x="740" y="703"/>
                  </a:lnTo>
                  <a:lnTo>
                    <a:pt x="705" y="739"/>
                  </a:lnTo>
                  <a:lnTo>
                    <a:pt x="665" y="770"/>
                  </a:lnTo>
                  <a:lnTo>
                    <a:pt x="623" y="797"/>
                  </a:lnTo>
                  <a:lnTo>
                    <a:pt x="577" y="817"/>
                  </a:lnTo>
                  <a:lnTo>
                    <a:pt x="527" y="833"/>
                  </a:lnTo>
                  <a:lnTo>
                    <a:pt x="476" y="843"/>
                  </a:lnTo>
                  <a:lnTo>
                    <a:pt x="423" y="845"/>
                  </a:lnTo>
                  <a:lnTo>
                    <a:pt x="369" y="843"/>
                  </a:lnTo>
                  <a:lnTo>
                    <a:pt x="318" y="833"/>
                  </a:lnTo>
                  <a:lnTo>
                    <a:pt x="270" y="817"/>
                  </a:lnTo>
                  <a:lnTo>
                    <a:pt x="224" y="797"/>
                  </a:lnTo>
                  <a:lnTo>
                    <a:pt x="181" y="770"/>
                  </a:lnTo>
                  <a:lnTo>
                    <a:pt x="141" y="739"/>
                  </a:lnTo>
                  <a:lnTo>
                    <a:pt x="106" y="703"/>
                  </a:lnTo>
                  <a:lnTo>
                    <a:pt x="75" y="665"/>
                  </a:lnTo>
                  <a:lnTo>
                    <a:pt x="49" y="621"/>
                  </a:lnTo>
                  <a:lnTo>
                    <a:pt x="27" y="575"/>
                  </a:lnTo>
                  <a:lnTo>
                    <a:pt x="12" y="527"/>
                  </a:lnTo>
                  <a:lnTo>
                    <a:pt x="2" y="476"/>
                  </a:lnTo>
                  <a:lnTo>
                    <a:pt x="0" y="423"/>
                  </a:lnTo>
                  <a:lnTo>
                    <a:pt x="2" y="370"/>
                  </a:lnTo>
                  <a:lnTo>
                    <a:pt x="12" y="319"/>
                  </a:lnTo>
                  <a:lnTo>
                    <a:pt x="27" y="269"/>
                  </a:lnTo>
                  <a:lnTo>
                    <a:pt x="49" y="223"/>
                  </a:lnTo>
                  <a:lnTo>
                    <a:pt x="75" y="181"/>
                  </a:lnTo>
                  <a:lnTo>
                    <a:pt x="106" y="142"/>
                  </a:lnTo>
                  <a:lnTo>
                    <a:pt x="141" y="106"/>
                  </a:lnTo>
                  <a:lnTo>
                    <a:pt x="181" y="76"/>
                  </a:lnTo>
                  <a:lnTo>
                    <a:pt x="224" y="49"/>
                  </a:lnTo>
                  <a:lnTo>
                    <a:pt x="270" y="29"/>
                  </a:lnTo>
                  <a:lnTo>
                    <a:pt x="318" y="13"/>
                  </a:lnTo>
                  <a:lnTo>
                    <a:pt x="369" y="3"/>
                  </a:lnTo>
                  <a:lnTo>
                    <a:pt x="4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 name="Freeform 69">
              <a:extLst>
                <a:ext uri="{FF2B5EF4-FFF2-40B4-BE49-F238E27FC236}">
                  <a16:creationId xmlns:a16="http://schemas.microsoft.com/office/drawing/2014/main" id="{575D9F6A-0DE7-4DAB-5725-08047A52C076}"/>
                </a:ext>
              </a:extLst>
            </p:cNvPr>
            <p:cNvSpPr>
              <a:spLocks/>
            </p:cNvSpPr>
            <p:nvPr/>
          </p:nvSpPr>
          <p:spPr bwMode="auto">
            <a:xfrm>
              <a:off x="-630238" y="2587625"/>
              <a:ext cx="269875" cy="269875"/>
            </a:xfrm>
            <a:custGeom>
              <a:avLst/>
              <a:gdLst>
                <a:gd name="T0" fmla="*/ 424 w 848"/>
                <a:gd name="T1" fmla="*/ 0 h 846"/>
                <a:gd name="T2" fmla="*/ 477 w 848"/>
                <a:gd name="T3" fmla="*/ 3 h 846"/>
                <a:gd name="T4" fmla="*/ 528 w 848"/>
                <a:gd name="T5" fmla="*/ 13 h 846"/>
                <a:gd name="T6" fmla="*/ 577 w 848"/>
                <a:gd name="T7" fmla="*/ 29 h 846"/>
                <a:gd name="T8" fmla="*/ 623 w 848"/>
                <a:gd name="T9" fmla="*/ 49 h 846"/>
                <a:gd name="T10" fmla="*/ 666 w 848"/>
                <a:gd name="T11" fmla="*/ 76 h 846"/>
                <a:gd name="T12" fmla="*/ 705 w 848"/>
                <a:gd name="T13" fmla="*/ 107 h 846"/>
                <a:gd name="T14" fmla="*/ 740 w 848"/>
                <a:gd name="T15" fmla="*/ 142 h 846"/>
                <a:gd name="T16" fmla="*/ 772 w 848"/>
                <a:gd name="T17" fmla="*/ 181 h 846"/>
                <a:gd name="T18" fmla="*/ 798 w 848"/>
                <a:gd name="T19" fmla="*/ 225 h 846"/>
                <a:gd name="T20" fmla="*/ 819 w 848"/>
                <a:gd name="T21" fmla="*/ 271 h 846"/>
                <a:gd name="T22" fmla="*/ 835 w 848"/>
                <a:gd name="T23" fmla="*/ 319 h 846"/>
                <a:gd name="T24" fmla="*/ 844 w 848"/>
                <a:gd name="T25" fmla="*/ 370 h 846"/>
                <a:gd name="T26" fmla="*/ 848 w 848"/>
                <a:gd name="T27" fmla="*/ 423 h 846"/>
                <a:gd name="T28" fmla="*/ 844 w 848"/>
                <a:gd name="T29" fmla="*/ 476 h 846"/>
                <a:gd name="T30" fmla="*/ 835 w 848"/>
                <a:gd name="T31" fmla="*/ 527 h 846"/>
                <a:gd name="T32" fmla="*/ 819 w 848"/>
                <a:gd name="T33" fmla="*/ 575 h 846"/>
                <a:gd name="T34" fmla="*/ 798 w 848"/>
                <a:gd name="T35" fmla="*/ 621 h 846"/>
                <a:gd name="T36" fmla="*/ 772 w 848"/>
                <a:gd name="T37" fmla="*/ 665 h 846"/>
                <a:gd name="T38" fmla="*/ 740 w 848"/>
                <a:gd name="T39" fmla="*/ 703 h 846"/>
                <a:gd name="T40" fmla="*/ 705 w 848"/>
                <a:gd name="T41" fmla="*/ 739 h 846"/>
                <a:gd name="T42" fmla="*/ 666 w 848"/>
                <a:gd name="T43" fmla="*/ 770 h 846"/>
                <a:gd name="T44" fmla="*/ 623 w 848"/>
                <a:gd name="T45" fmla="*/ 797 h 846"/>
                <a:gd name="T46" fmla="*/ 577 w 848"/>
                <a:gd name="T47" fmla="*/ 817 h 846"/>
                <a:gd name="T48" fmla="*/ 528 w 848"/>
                <a:gd name="T49" fmla="*/ 833 h 846"/>
                <a:gd name="T50" fmla="*/ 477 w 848"/>
                <a:gd name="T51" fmla="*/ 843 h 846"/>
                <a:gd name="T52" fmla="*/ 424 w 848"/>
                <a:gd name="T53" fmla="*/ 846 h 846"/>
                <a:gd name="T54" fmla="*/ 370 w 848"/>
                <a:gd name="T55" fmla="*/ 843 h 846"/>
                <a:gd name="T56" fmla="*/ 320 w 848"/>
                <a:gd name="T57" fmla="*/ 833 h 846"/>
                <a:gd name="T58" fmla="*/ 271 w 848"/>
                <a:gd name="T59" fmla="*/ 817 h 846"/>
                <a:gd name="T60" fmla="*/ 225 w 848"/>
                <a:gd name="T61" fmla="*/ 797 h 846"/>
                <a:gd name="T62" fmla="*/ 181 w 848"/>
                <a:gd name="T63" fmla="*/ 770 h 846"/>
                <a:gd name="T64" fmla="*/ 143 w 848"/>
                <a:gd name="T65" fmla="*/ 739 h 846"/>
                <a:gd name="T66" fmla="*/ 107 w 848"/>
                <a:gd name="T67" fmla="*/ 703 h 846"/>
                <a:gd name="T68" fmla="*/ 76 w 848"/>
                <a:gd name="T69" fmla="*/ 665 h 846"/>
                <a:gd name="T70" fmla="*/ 49 w 848"/>
                <a:gd name="T71" fmla="*/ 621 h 846"/>
                <a:gd name="T72" fmla="*/ 29 w 848"/>
                <a:gd name="T73" fmla="*/ 575 h 846"/>
                <a:gd name="T74" fmla="*/ 13 w 848"/>
                <a:gd name="T75" fmla="*/ 527 h 846"/>
                <a:gd name="T76" fmla="*/ 3 w 848"/>
                <a:gd name="T77" fmla="*/ 476 h 846"/>
                <a:gd name="T78" fmla="*/ 0 w 848"/>
                <a:gd name="T79" fmla="*/ 423 h 846"/>
                <a:gd name="T80" fmla="*/ 3 w 848"/>
                <a:gd name="T81" fmla="*/ 370 h 846"/>
                <a:gd name="T82" fmla="*/ 13 w 848"/>
                <a:gd name="T83" fmla="*/ 319 h 846"/>
                <a:gd name="T84" fmla="*/ 29 w 848"/>
                <a:gd name="T85" fmla="*/ 271 h 846"/>
                <a:gd name="T86" fmla="*/ 49 w 848"/>
                <a:gd name="T87" fmla="*/ 225 h 846"/>
                <a:gd name="T88" fmla="*/ 76 w 848"/>
                <a:gd name="T89" fmla="*/ 181 h 846"/>
                <a:gd name="T90" fmla="*/ 107 w 848"/>
                <a:gd name="T91" fmla="*/ 142 h 846"/>
                <a:gd name="T92" fmla="*/ 143 w 848"/>
                <a:gd name="T93" fmla="*/ 107 h 846"/>
                <a:gd name="T94" fmla="*/ 181 w 848"/>
                <a:gd name="T95" fmla="*/ 76 h 846"/>
                <a:gd name="T96" fmla="*/ 225 w 848"/>
                <a:gd name="T97" fmla="*/ 49 h 846"/>
                <a:gd name="T98" fmla="*/ 271 w 848"/>
                <a:gd name="T99" fmla="*/ 29 h 846"/>
                <a:gd name="T100" fmla="*/ 320 w 848"/>
                <a:gd name="T101" fmla="*/ 13 h 846"/>
                <a:gd name="T102" fmla="*/ 370 w 848"/>
                <a:gd name="T103" fmla="*/ 3 h 846"/>
                <a:gd name="T104" fmla="*/ 424 w 848"/>
                <a:gd name="T10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8" h="846">
                  <a:moveTo>
                    <a:pt x="424" y="0"/>
                  </a:moveTo>
                  <a:lnTo>
                    <a:pt x="477" y="3"/>
                  </a:lnTo>
                  <a:lnTo>
                    <a:pt x="528" y="13"/>
                  </a:lnTo>
                  <a:lnTo>
                    <a:pt x="577" y="29"/>
                  </a:lnTo>
                  <a:lnTo>
                    <a:pt x="623" y="49"/>
                  </a:lnTo>
                  <a:lnTo>
                    <a:pt x="666" y="76"/>
                  </a:lnTo>
                  <a:lnTo>
                    <a:pt x="705" y="107"/>
                  </a:lnTo>
                  <a:lnTo>
                    <a:pt x="740" y="142"/>
                  </a:lnTo>
                  <a:lnTo>
                    <a:pt x="772" y="181"/>
                  </a:lnTo>
                  <a:lnTo>
                    <a:pt x="798" y="225"/>
                  </a:lnTo>
                  <a:lnTo>
                    <a:pt x="819" y="271"/>
                  </a:lnTo>
                  <a:lnTo>
                    <a:pt x="835" y="319"/>
                  </a:lnTo>
                  <a:lnTo>
                    <a:pt x="844" y="370"/>
                  </a:lnTo>
                  <a:lnTo>
                    <a:pt x="848" y="423"/>
                  </a:lnTo>
                  <a:lnTo>
                    <a:pt x="844" y="476"/>
                  </a:lnTo>
                  <a:lnTo>
                    <a:pt x="835" y="527"/>
                  </a:lnTo>
                  <a:lnTo>
                    <a:pt x="819" y="575"/>
                  </a:lnTo>
                  <a:lnTo>
                    <a:pt x="798" y="621"/>
                  </a:lnTo>
                  <a:lnTo>
                    <a:pt x="772" y="665"/>
                  </a:lnTo>
                  <a:lnTo>
                    <a:pt x="740" y="703"/>
                  </a:lnTo>
                  <a:lnTo>
                    <a:pt x="705" y="739"/>
                  </a:lnTo>
                  <a:lnTo>
                    <a:pt x="666" y="770"/>
                  </a:lnTo>
                  <a:lnTo>
                    <a:pt x="623" y="797"/>
                  </a:lnTo>
                  <a:lnTo>
                    <a:pt x="577" y="817"/>
                  </a:lnTo>
                  <a:lnTo>
                    <a:pt x="528" y="833"/>
                  </a:lnTo>
                  <a:lnTo>
                    <a:pt x="477" y="843"/>
                  </a:lnTo>
                  <a:lnTo>
                    <a:pt x="424" y="846"/>
                  </a:lnTo>
                  <a:lnTo>
                    <a:pt x="370" y="843"/>
                  </a:lnTo>
                  <a:lnTo>
                    <a:pt x="320" y="833"/>
                  </a:lnTo>
                  <a:lnTo>
                    <a:pt x="271" y="817"/>
                  </a:lnTo>
                  <a:lnTo>
                    <a:pt x="225" y="797"/>
                  </a:lnTo>
                  <a:lnTo>
                    <a:pt x="181" y="770"/>
                  </a:lnTo>
                  <a:lnTo>
                    <a:pt x="143" y="739"/>
                  </a:lnTo>
                  <a:lnTo>
                    <a:pt x="107" y="703"/>
                  </a:lnTo>
                  <a:lnTo>
                    <a:pt x="76" y="665"/>
                  </a:lnTo>
                  <a:lnTo>
                    <a:pt x="49" y="621"/>
                  </a:lnTo>
                  <a:lnTo>
                    <a:pt x="29" y="575"/>
                  </a:lnTo>
                  <a:lnTo>
                    <a:pt x="13" y="527"/>
                  </a:lnTo>
                  <a:lnTo>
                    <a:pt x="3" y="476"/>
                  </a:lnTo>
                  <a:lnTo>
                    <a:pt x="0" y="423"/>
                  </a:lnTo>
                  <a:lnTo>
                    <a:pt x="3" y="370"/>
                  </a:lnTo>
                  <a:lnTo>
                    <a:pt x="13" y="319"/>
                  </a:lnTo>
                  <a:lnTo>
                    <a:pt x="29" y="271"/>
                  </a:lnTo>
                  <a:lnTo>
                    <a:pt x="49" y="225"/>
                  </a:lnTo>
                  <a:lnTo>
                    <a:pt x="76" y="181"/>
                  </a:lnTo>
                  <a:lnTo>
                    <a:pt x="107" y="142"/>
                  </a:lnTo>
                  <a:lnTo>
                    <a:pt x="143" y="107"/>
                  </a:lnTo>
                  <a:lnTo>
                    <a:pt x="181" y="76"/>
                  </a:lnTo>
                  <a:lnTo>
                    <a:pt x="225" y="49"/>
                  </a:lnTo>
                  <a:lnTo>
                    <a:pt x="271" y="29"/>
                  </a:lnTo>
                  <a:lnTo>
                    <a:pt x="320" y="13"/>
                  </a:lnTo>
                  <a:lnTo>
                    <a:pt x="370" y="3"/>
                  </a:lnTo>
                  <a:lnTo>
                    <a:pt x="4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70">
              <a:extLst>
                <a:ext uri="{FF2B5EF4-FFF2-40B4-BE49-F238E27FC236}">
                  <a16:creationId xmlns:a16="http://schemas.microsoft.com/office/drawing/2014/main" id="{1E0702D2-6D43-B3D5-6E8B-9A3C04F89BFA}"/>
                </a:ext>
              </a:extLst>
            </p:cNvPr>
            <p:cNvSpPr>
              <a:spLocks/>
            </p:cNvSpPr>
            <p:nvPr/>
          </p:nvSpPr>
          <p:spPr bwMode="auto">
            <a:xfrm>
              <a:off x="-411163" y="3667125"/>
              <a:ext cx="142875" cy="168275"/>
            </a:xfrm>
            <a:custGeom>
              <a:avLst/>
              <a:gdLst>
                <a:gd name="T0" fmla="*/ 0 w 449"/>
                <a:gd name="T1" fmla="*/ 0 h 529"/>
                <a:gd name="T2" fmla="*/ 449 w 449"/>
                <a:gd name="T3" fmla="*/ 0 h 529"/>
                <a:gd name="T4" fmla="*/ 449 w 449"/>
                <a:gd name="T5" fmla="*/ 305 h 529"/>
                <a:gd name="T6" fmla="*/ 445 w 449"/>
                <a:gd name="T7" fmla="*/ 345 h 529"/>
                <a:gd name="T8" fmla="*/ 436 w 449"/>
                <a:gd name="T9" fmla="*/ 383 h 529"/>
                <a:gd name="T10" fmla="*/ 419 w 449"/>
                <a:gd name="T11" fmla="*/ 418 h 529"/>
                <a:gd name="T12" fmla="*/ 397 w 449"/>
                <a:gd name="T13" fmla="*/ 449 h 529"/>
                <a:gd name="T14" fmla="*/ 369 w 449"/>
                <a:gd name="T15" fmla="*/ 476 h 529"/>
                <a:gd name="T16" fmla="*/ 339 w 449"/>
                <a:gd name="T17" fmla="*/ 499 h 529"/>
                <a:gd name="T18" fmla="*/ 303 w 449"/>
                <a:gd name="T19" fmla="*/ 515 h 529"/>
                <a:gd name="T20" fmla="*/ 265 w 449"/>
                <a:gd name="T21" fmla="*/ 525 h 529"/>
                <a:gd name="T22" fmla="*/ 225 w 449"/>
                <a:gd name="T23" fmla="*/ 529 h 529"/>
                <a:gd name="T24" fmla="*/ 225 w 449"/>
                <a:gd name="T25" fmla="*/ 529 h 529"/>
                <a:gd name="T26" fmla="*/ 185 w 449"/>
                <a:gd name="T27" fmla="*/ 525 h 529"/>
                <a:gd name="T28" fmla="*/ 147 w 449"/>
                <a:gd name="T29" fmla="*/ 515 h 529"/>
                <a:gd name="T30" fmla="*/ 112 w 449"/>
                <a:gd name="T31" fmla="*/ 499 h 529"/>
                <a:gd name="T32" fmla="*/ 80 w 449"/>
                <a:gd name="T33" fmla="*/ 477 h 529"/>
                <a:gd name="T34" fmla="*/ 54 w 449"/>
                <a:gd name="T35" fmla="*/ 449 h 529"/>
                <a:gd name="T36" fmla="*/ 31 w 449"/>
                <a:gd name="T37" fmla="*/ 418 h 529"/>
                <a:gd name="T38" fmla="*/ 15 w 449"/>
                <a:gd name="T39" fmla="*/ 384 h 529"/>
                <a:gd name="T40" fmla="*/ 4 w 449"/>
                <a:gd name="T41" fmla="*/ 345 h 529"/>
                <a:gd name="T42" fmla="*/ 0 w 449"/>
                <a:gd name="T43" fmla="*/ 305 h 529"/>
                <a:gd name="T44" fmla="*/ 0 w 449"/>
                <a:gd name="T45"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9" h="529">
                  <a:moveTo>
                    <a:pt x="0" y="0"/>
                  </a:moveTo>
                  <a:lnTo>
                    <a:pt x="449" y="0"/>
                  </a:lnTo>
                  <a:lnTo>
                    <a:pt x="449" y="305"/>
                  </a:lnTo>
                  <a:lnTo>
                    <a:pt x="445" y="345"/>
                  </a:lnTo>
                  <a:lnTo>
                    <a:pt x="436" y="383"/>
                  </a:lnTo>
                  <a:lnTo>
                    <a:pt x="419" y="418"/>
                  </a:lnTo>
                  <a:lnTo>
                    <a:pt x="397" y="449"/>
                  </a:lnTo>
                  <a:lnTo>
                    <a:pt x="369" y="476"/>
                  </a:lnTo>
                  <a:lnTo>
                    <a:pt x="339" y="499"/>
                  </a:lnTo>
                  <a:lnTo>
                    <a:pt x="303" y="515"/>
                  </a:lnTo>
                  <a:lnTo>
                    <a:pt x="265" y="525"/>
                  </a:lnTo>
                  <a:lnTo>
                    <a:pt x="225" y="529"/>
                  </a:lnTo>
                  <a:lnTo>
                    <a:pt x="225" y="529"/>
                  </a:lnTo>
                  <a:lnTo>
                    <a:pt x="185" y="525"/>
                  </a:lnTo>
                  <a:lnTo>
                    <a:pt x="147" y="515"/>
                  </a:lnTo>
                  <a:lnTo>
                    <a:pt x="112" y="499"/>
                  </a:lnTo>
                  <a:lnTo>
                    <a:pt x="80" y="477"/>
                  </a:lnTo>
                  <a:lnTo>
                    <a:pt x="54" y="449"/>
                  </a:lnTo>
                  <a:lnTo>
                    <a:pt x="31" y="418"/>
                  </a:lnTo>
                  <a:lnTo>
                    <a:pt x="15" y="384"/>
                  </a:lnTo>
                  <a:lnTo>
                    <a:pt x="4" y="345"/>
                  </a:lnTo>
                  <a:lnTo>
                    <a:pt x="0" y="30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1">
              <a:extLst>
                <a:ext uri="{FF2B5EF4-FFF2-40B4-BE49-F238E27FC236}">
                  <a16:creationId xmlns:a16="http://schemas.microsoft.com/office/drawing/2014/main" id="{8D3BEEBA-7A98-87D8-D5C6-C21245071BD6}"/>
                </a:ext>
              </a:extLst>
            </p:cNvPr>
            <p:cNvSpPr>
              <a:spLocks noEditPoints="1"/>
            </p:cNvSpPr>
            <p:nvPr/>
          </p:nvSpPr>
          <p:spPr bwMode="auto">
            <a:xfrm>
              <a:off x="-1206500" y="2849563"/>
              <a:ext cx="1133475" cy="985838"/>
            </a:xfrm>
            <a:custGeom>
              <a:avLst/>
              <a:gdLst>
                <a:gd name="T0" fmla="*/ 2967 w 3570"/>
                <a:gd name="T1" fmla="*/ 1562 h 3106"/>
                <a:gd name="T2" fmla="*/ 2816 w 3570"/>
                <a:gd name="T3" fmla="*/ 1513 h 3106"/>
                <a:gd name="T4" fmla="*/ 2732 w 3570"/>
                <a:gd name="T5" fmla="*/ 1583 h 3106"/>
                <a:gd name="T6" fmla="*/ 3079 w 3570"/>
                <a:gd name="T7" fmla="*/ 1519 h 3106"/>
                <a:gd name="T8" fmla="*/ 575 w 3570"/>
                <a:gd name="T9" fmla="*/ 0 h 3106"/>
                <a:gd name="T10" fmla="*/ 675 w 3570"/>
                <a:gd name="T11" fmla="*/ 13 h 3106"/>
                <a:gd name="T12" fmla="*/ 742 w 3570"/>
                <a:gd name="T13" fmla="*/ 39 h 3106"/>
                <a:gd name="T14" fmla="*/ 878 w 3570"/>
                <a:gd name="T15" fmla="*/ 140 h 3106"/>
                <a:gd name="T16" fmla="*/ 968 w 3570"/>
                <a:gd name="T17" fmla="*/ 331 h 3106"/>
                <a:gd name="T18" fmla="*/ 995 w 3570"/>
                <a:gd name="T19" fmla="*/ 496 h 3106"/>
                <a:gd name="T20" fmla="*/ 1067 w 3570"/>
                <a:gd name="T21" fmla="*/ 739 h 3106"/>
                <a:gd name="T22" fmla="*/ 1217 w 3570"/>
                <a:gd name="T23" fmla="*/ 851 h 3106"/>
                <a:gd name="T24" fmla="*/ 1428 w 3570"/>
                <a:gd name="T25" fmla="*/ 849 h 3106"/>
                <a:gd name="T26" fmla="*/ 1663 w 3570"/>
                <a:gd name="T27" fmla="*/ 815 h 3106"/>
                <a:gd name="T28" fmla="*/ 1905 w 3570"/>
                <a:gd name="T29" fmla="*/ 777 h 3106"/>
                <a:gd name="T30" fmla="*/ 2022 w 3570"/>
                <a:gd name="T31" fmla="*/ 687 h 3106"/>
                <a:gd name="T32" fmla="*/ 2085 w 3570"/>
                <a:gd name="T33" fmla="*/ 474 h 3106"/>
                <a:gd name="T34" fmla="*/ 2109 w 3570"/>
                <a:gd name="T35" fmla="*/ 331 h 3106"/>
                <a:gd name="T36" fmla="*/ 2199 w 3570"/>
                <a:gd name="T37" fmla="*/ 140 h 3106"/>
                <a:gd name="T38" fmla="*/ 2336 w 3570"/>
                <a:gd name="T39" fmla="*/ 39 h 3106"/>
                <a:gd name="T40" fmla="*/ 2401 w 3570"/>
                <a:gd name="T41" fmla="*/ 13 h 3106"/>
                <a:gd name="T42" fmla="*/ 2502 w 3570"/>
                <a:gd name="T43" fmla="*/ 0 h 3106"/>
                <a:gd name="T44" fmla="*/ 2595 w 3570"/>
                <a:gd name="T45" fmla="*/ 10 h 3106"/>
                <a:gd name="T46" fmla="*/ 2750 w 3570"/>
                <a:gd name="T47" fmla="*/ 105 h 3106"/>
                <a:gd name="T48" fmla="*/ 2821 w 3570"/>
                <a:gd name="T49" fmla="*/ 259 h 3106"/>
                <a:gd name="T50" fmla="*/ 2848 w 3570"/>
                <a:gd name="T51" fmla="*/ 368 h 3106"/>
                <a:gd name="T52" fmla="*/ 2903 w 3570"/>
                <a:gd name="T53" fmla="*/ 586 h 3106"/>
                <a:gd name="T54" fmla="*/ 2971 w 3570"/>
                <a:gd name="T55" fmla="*/ 855 h 3106"/>
                <a:gd name="T56" fmla="*/ 3036 w 3570"/>
                <a:gd name="T57" fmla="*/ 1116 h 3106"/>
                <a:gd name="T58" fmla="*/ 3084 w 3570"/>
                <a:gd name="T59" fmla="*/ 1309 h 3106"/>
                <a:gd name="T60" fmla="*/ 3099 w 3570"/>
                <a:gd name="T61" fmla="*/ 1411 h 3106"/>
                <a:gd name="T62" fmla="*/ 3230 w 3570"/>
                <a:gd name="T63" fmla="*/ 1516 h 3106"/>
                <a:gd name="T64" fmla="*/ 2302 w 3570"/>
                <a:gd name="T65" fmla="*/ 2516 h 3106"/>
                <a:gd name="T66" fmla="*/ 2659 w 3570"/>
                <a:gd name="T67" fmla="*/ 1488 h 3106"/>
                <a:gd name="T68" fmla="*/ 2760 w 3570"/>
                <a:gd name="T69" fmla="*/ 1361 h 3106"/>
                <a:gd name="T70" fmla="*/ 2690 w 3570"/>
                <a:gd name="T71" fmla="*/ 1088 h 3106"/>
                <a:gd name="T72" fmla="*/ 2612 w 3570"/>
                <a:gd name="T73" fmla="*/ 833 h 3106"/>
                <a:gd name="T74" fmla="*/ 2559 w 3570"/>
                <a:gd name="T75" fmla="*/ 676 h 3106"/>
                <a:gd name="T76" fmla="*/ 2508 w 3570"/>
                <a:gd name="T77" fmla="*/ 624 h 3106"/>
                <a:gd name="T78" fmla="*/ 2497 w 3570"/>
                <a:gd name="T79" fmla="*/ 679 h 3106"/>
                <a:gd name="T80" fmla="*/ 2599 w 3570"/>
                <a:gd name="T81" fmla="*/ 964 h 3106"/>
                <a:gd name="T82" fmla="*/ 2707 w 3570"/>
                <a:gd name="T83" fmla="*/ 1384 h 3106"/>
                <a:gd name="T84" fmla="*/ 2576 w 3570"/>
                <a:gd name="T85" fmla="*/ 1534 h 3106"/>
                <a:gd name="T86" fmla="*/ 2358 w 3570"/>
                <a:gd name="T87" fmla="*/ 1439 h 3106"/>
                <a:gd name="T88" fmla="*/ 2195 w 3570"/>
                <a:gd name="T89" fmla="*/ 989 h 3106"/>
                <a:gd name="T90" fmla="*/ 1959 w 3570"/>
                <a:gd name="T91" fmla="*/ 1104 h 3106"/>
                <a:gd name="T92" fmla="*/ 1667 w 3570"/>
                <a:gd name="T93" fmla="*/ 1168 h 3106"/>
                <a:gd name="T94" fmla="*/ 1554 w 3570"/>
                <a:gd name="T95" fmla="*/ 1248 h 3106"/>
                <a:gd name="T96" fmla="*/ 1250 w 3570"/>
                <a:gd name="T97" fmla="*/ 1202 h 3106"/>
                <a:gd name="T98" fmla="*/ 956 w 3570"/>
                <a:gd name="T99" fmla="*/ 1085 h 3106"/>
                <a:gd name="T100" fmla="*/ 755 w 3570"/>
                <a:gd name="T101" fmla="*/ 1370 h 3106"/>
                <a:gd name="T102" fmla="*/ 639 w 3570"/>
                <a:gd name="T103" fmla="*/ 1516 h 3106"/>
                <a:gd name="T104" fmla="*/ 558 w 3570"/>
                <a:gd name="T105" fmla="*/ 2960 h 3106"/>
                <a:gd name="T106" fmla="*/ 425 w 3570"/>
                <a:gd name="T107" fmla="*/ 3092 h 3106"/>
                <a:gd name="T108" fmla="*/ 234 w 3570"/>
                <a:gd name="T109" fmla="*/ 3076 h 3106"/>
                <a:gd name="T110" fmla="*/ 126 w 3570"/>
                <a:gd name="T111" fmla="*/ 2922 h 3106"/>
                <a:gd name="T112" fmla="*/ 41 w 3570"/>
                <a:gd name="T113" fmla="*/ 1376 h 3106"/>
                <a:gd name="T114" fmla="*/ 6 w 3570"/>
                <a:gd name="T115" fmla="*/ 1168 h 3106"/>
                <a:gd name="T116" fmla="*/ 279 w 3570"/>
                <a:gd name="T117" fmla="*/ 115 h 3106"/>
                <a:gd name="T118" fmla="*/ 446 w 3570"/>
                <a:gd name="T119" fmla="*/ 18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0" h="3106">
                  <a:moveTo>
                    <a:pt x="3057" y="1513"/>
                  </a:moveTo>
                  <a:lnTo>
                    <a:pt x="3038" y="1529"/>
                  </a:lnTo>
                  <a:lnTo>
                    <a:pt x="3017" y="1544"/>
                  </a:lnTo>
                  <a:lnTo>
                    <a:pt x="2993" y="1555"/>
                  </a:lnTo>
                  <a:lnTo>
                    <a:pt x="2967" y="1562"/>
                  </a:lnTo>
                  <a:lnTo>
                    <a:pt x="2936" y="1566"/>
                  </a:lnTo>
                  <a:lnTo>
                    <a:pt x="2902" y="1562"/>
                  </a:lnTo>
                  <a:lnTo>
                    <a:pt x="2869" y="1551"/>
                  </a:lnTo>
                  <a:lnTo>
                    <a:pt x="2840" y="1534"/>
                  </a:lnTo>
                  <a:lnTo>
                    <a:pt x="2816" y="1513"/>
                  </a:lnTo>
                  <a:lnTo>
                    <a:pt x="2793" y="1519"/>
                  </a:lnTo>
                  <a:lnTo>
                    <a:pt x="2773" y="1529"/>
                  </a:lnTo>
                  <a:lnTo>
                    <a:pt x="2756" y="1544"/>
                  </a:lnTo>
                  <a:lnTo>
                    <a:pt x="2742" y="1562"/>
                  </a:lnTo>
                  <a:lnTo>
                    <a:pt x="2732" y="1583"/>
                  </a:lnTo>
                  <a:lnTo>
                    <a:pt x="3139" y="1583"/>
                  </a:lnTo>
                  <a:lnTo>
                    <a:pt x="3130" y="1562"/>
                  </a:lnTo>
                  <a:lnTo>
                    <a:pt x="3116" y="1544"/>
                  </a:lnTo>
                  <a:lnTo>
                    <a:pt x="3098" y="1529"/>
                  </a:lnTo>
                  <a:lnTo>
                    <a:pt x="3079" y="1519"/>
                  </a:lnTo>
                  <a:lnTo>
                    <a:pt x="3057" y="1513"/>
                  </a:lnTo>
                  <a:close/>
                  <a:moveTo>
                    <a:pt x="559" y="0"/>
                  </a:moveTo>
                  <a:lnTo>
                    <a:pt x="560" y="0"/>
                  </a:lnTo>
                  <a:lnTo>
                    <a:pt x="564" y="0"/>
                  </a:lnTo>
                  <a:lnTo>
                    <a:pt x="575" y="0"/>
                  </a:lnTo>
                  <a:lnTo>
                    <a:pt x="592" y="1"/>
                  </a:lnTo>
                  <a:lnTo>
                    <a:pt x="611" y="2"/>
                  </a:lnTo>
                  <a:lnTo>
                    <a:pt x="634" y="5"/>
                  </a:lnTo>
                  <a:lnTo>
                    <a:pt x="656" y="8"/>
                  </a:lnTo>
                  <a:lnTo>
                    <a:pt x="675" y="13"/>
                  </a:lnTo>
                  <a:lnTo>
                    <a:pt x="695" y="18"/>
                  </a:lnTo>
                  <a:lnTo>
                    <a:pt x="710" y="24"/>
                  </a:lnTo>
                  <a:lnTo>
                    <a:pt x="724" y="30"/>
                  </a:lnTo>
                  <a:lnTo>
                    <a:pt x="735" y="35"/>
                  </a:lnTo>
                  <a:lnTo>
                    <a:pt x="742" y="39"/>
                  </a:lnTo>
                  <a:lnTo>
                    <a:pt x="744" y="40"/>
                  </a:lnTo>
                  <a:lnTo>
                    <a:pt x="779" y="59"/>
                  </a:lnTo>
                  <a:lnTo>
                    <a:pt x="815" y="82"/>
                  </a:lnTo>
                  <a:lnTo>
                    <a:pt x="847" y="110"/>
                  </a:lnTo>
                  <a:lnTo>
                    <a:pt x="878" y="140"/>
                  </a:lnTo>
                  <a:lnTo>
                    <a:pt x="905" y="173"/>
                  </a:lnTo>
                  <a:lnTo>
                    <a:pt x="928" y="209"/>
                  </a:lnTo>
                  <a:lnTo>
                    <a:pt x="947" y="248"/>
                  </a:lnTo>
                  <a:lnTo>
                    <a:pt x="961" y="289"/>
                  </a:lnTo>
                  <a:lnTo>
                    <a:pt x="968" y="331"/>
                  </a:lnTo>
                  <a:lnTo>
                    <a:pt x="970" y="337"/>
                  </a:lnTo>
                  <a:lnTo>
                    <a:pt x="972" y="345"/>
                  </a:lnTo>
                  <a:lnTo>
                    <a:pt x="973" y="351"/>
                  </a:lnTo>
                  <a:lnTo>
                    <a:pt x="984" y="427"/>
                  </a:lnTo>
                  <a:lnTo>
                    <a:pt x="995" y="496"/>
                  </a:lnTo>
                  <a:lnTo>
                    <a:pt x="1006" y="557"/>
                  </a:lnTo>
                  <a:lnTo>
                    <a:pt x="1018" y="613"/>
                  </a:lnTo>
                  <a:lnTo>
                    <a:pt x="1033" y="661"/>
                  </a:lnTo>
                  <a:lnTo>
                    <a:pt x="1048" y="704"/>
                  </a:lnTo>
                  <a:lnTo>
                    <a:pt x="1067" y="739"/>
                  </a:lnTo>
                  <a:lnTo>
                    <a:pt x="1088" y="769"/>
                  </a:lnTo>
                  <a:lnTo>
                    <a:pt x="1112" y="792"/>
                  </a:lnTo>
                  <a:lnTo>
                    <a:pt x="1141" y="814"/>
                  </a:lnTo>
                  <a:lnTo>
                    <a:pt x="1176" y="833"/>
                  </a:lnTo>
                  <a:lnTo>
                    <a:pt x="1217" y="851"/>
                  </a:lnTo>
                  <a:lnTo>
                    <a:pt x="1265" y="867"/>
                  </a:lnTo>
                  <a:lnTo>
                    <a:pt x="1320" y="883"/>
                  </a:lnTo>
                  <a:lnTo>
                    <a:pt x="1383" y="896"/>
                  </a:lnTo>
                  <a:lnTo>
                    <a:pt x="1402" y="870"/>
                  </a:lnTo>
                  <a:lnTo>
                    <a:pt x="1428" y="849"/>
                  </a:lnTo>
                  <a:lnTo>
                    <a:pt x="1456" y="832"/>
                  </a:lnTo>
                  <a:lnTo>
                    <a:pt x="1488" y="821"/>
                  </a:lnTo>
                  <a:lnTo>
                    <a:pt x="1522" y="817"/>
                  </a:lnTo>
                  <a:lnTo>
                    <a:pt x="1596" y="817"/>
                  </a:lnTo>
                  <a:lnTo>
                    <a:pt x="1663" y="815"/>
                  </a:lnTo>
                  <a:lnTo>
                    <a:pt x="1724" y="810"/>
                  </a:lnTo>
                  <a:lnTo>
                    <a:pt x="1778" y="805"/>
                  </a:lnTo>
                  <a:lnTo>
                    <a:pt x="1827" y="798"/>
                  </a:lnTo>
                  <a:lnTo>
                    <a:pt x="1869" y="788"/>
                  </a:lnTo>
                  <a:lnTo>
                    <a:pt x="1905" y="777"/>
                  </a:lnTo>
                  <a:lnTo>
                    <a:pt x="1937" y="765"/>
                  </a:lnTo>
                  <a:lnTo>
                    <a:pt x="1964" y="751"/>
                  </a:lnTo>
                  <a:lnTo>
                    <a:pt x="1985" y="734"/>
                  </a:lnTo>
                  <a:lnTo>
                    <a:pt x="2005" y="713"/>
                  </a:lnTo>
                  <a:lnTo>
                    <a:pt x="2022" y="687"/>
                  </a:lnTo>
                  <a:lnTo>
                    <a:pt x="2038" y="654"/>
                  </a:lnTo>
                  <a:lnTo>
                    <a:pt x="2051" y="618"/>
                  </a:lnTo>
                  <a:lnTo>
                    <a:pt x="2063" y="574"/>
                  </a:lnTo>
                  <a:lnTo>
                    <a:pt x="2074" y="527"/>
                  </a:lnTo>
                  <a:lnTo>
                    <a:pt x="2085" y="474"/>
                  </a:lnTo>
                  <a:lnTo>
                    <a:pt x="2095" y="415"/>
                  </a:lnTo>
                  <a:lnTo>
                    <a:pt x="2104" y="351"/>
                  </a:lnTo>
                  <a:lnTo>
                    <a:pt x="2105" y="345"/>
                  </a:lnTo>
                  <a:lnTo>
                    <a:pt x="2107" y="337"/>
                  </a:lnTo>
                  <a:lnTo>
                    <a:pt x="2109" y="331"/>
                  </a:lnTo>
                  <a:lnTo>
                    <a:pt x="2116" y="289"/>
                  </a:lnTo>
                  <a:lnTo>
                    <a:pt x="2130" y="248"/>
                  </a:lnTo>
                  <a:lnTo>
                    <a:pt x="2149" y="209"/>
                  </a:lnTo>
                  <a:lnTo>
                    <a:pt x="2172" y="173"/>
                  </a:lnTo>
                  <a:lnTo>
                    <a:pt x="2199" y="140"/>
                  </a:lnTo>
                  <a:lnTo>
                    <a:pt x="2230" y="110"/>
                  </a:lnTo>
                  <a:lnTo>
                    <a:pt x="2263" y="82"/>
                  </a:lnTo>
                  <a:lnTo>
                    <a:pt x="2297" y="59"/>
                  </a:lnTo>
                  <a:lnTo>
                    <a:pt x="2333" y="40"/>
                  </a:lnTo>
                  <a:lnTo>
                    <a:pt x="2336" y="39"/>
                  </a:lnTo>
                  <a:lnTo>
                    <a:pt x="2342" y="35"/>
                  </a:lnTo>
                  <a:lnTo>
                    <a:pt x="2353" y="30"/>
                  </a:lnTo>
                  <a:lnTo>
                    <a:pt x="2366" y="24"/>
                  </a:lnTo>
                  <a:lnTo>
                    <a:pt x="2383" y="18"/>
                  </a:lnTo>
                  <a:lnTo>
                    <a:pt x="2401" y="13"/>
                  </a:lnTo>
                  <a:lnTo>
                    <a:pt x="2421" y="8"/>
                  </a:lnTo>
                  <a:lnTo>
                    <a:pt x="2444" y="5"/>
                  </a:lnTo>
                  <a:lnTo>
                    <a:pt x="2465" y="2"/>
                  </a:lnTo>
                  <a:lnTo>
                    <a:pt x="2486" y="1"/>
                  </a:lnTo>
                  <a:lnTo>
                    <a:pt x="2502" y="0"/>
                  </a:lnTo>
                  <a:lnTo>
                    <a:pt x="2513" y="0"/>
                  </a:lnTo>
                  <a:lnTo>
                    <a:pt x="2516" y="0"/>
                  </a:lnTo>
                  <a:lnTo>
                    <a:pt x="2518" y="0"/>
                  </a:lnTo>
                  <a:lnTo>
                    <a:pt x="2558" y="2"/>
                  </a:lnTo>
                  <a:lnTo>
                    <a:pt x="2595" y="10"/>
                  </a:lnTo>
                  <a:lnTo>
                    <a:pt x="2630" y="21"/>
                  </a:lnTo>
                  <a:lnTo>
                    <a:pt x="2664" y="35"/>
                  </a:lnTo>
                  <a:lnTo>
                    <a:pt x="2696" y="54"/>
                  </a:lnTo>
                  <a:lnTo>
                    <a:pt x="2724" y="77"/>
                  </a:lnTo>
                  <a:lnTo>
                    <a:pt x="2750" y="105"/>
                  </a:lnTo>
                  <a:lnTo>
                    <a:pt x="2772" y="135"/>
                  </a:lnTo>
                  <a:lnTo>
                    <a:pt x="2792" y="172"/>
                  </a:lnTo>
                  <a:lnTo>
                    <a:pt x="2807" y="212"/>
                  </a:lnTo>
                  <a:lnTo>
                    <a:pt x="2819" y="255"/>
                  </a:lnTo>
                  <a:lnTo>
                    <a:pt x="2821" y="259"/>
                  </a:lnTo>
                  <a:lnTo>
                    <a:pt x="2823" y="270"/>
                  </a:lnTo>
                  <a:lnTo>
                    <a:pt x="2827" y="285"/>
                  </a:lnTo>
                  <a:lnTo>
                    <a:pt x="2833" y="308"/>
                  </a:lnTo>
                  <a:lnTo>
                    <a:pt x="2840" y="336"/>
                  </a:lnTo>
                  <a:lnTo>
                    <a:pt x="2848" y="368"/>
                  </a:lnTo>
                  <a:lnTo>
                    <a:pt x="2857" y="405"/>
                  </a:lnTo>
                  <a:lnTo>
                    <a:pt x="2868" y="445"/>
                  </a:lnTo>
                  <a:lnTo>
                    <a:pt x="2879" y="490"/>
                  </a:lnTo>
                  <a:lnTo>
                    <a:pt x="2891" y="537"/>
                  </a:lnTo>
                  <a:lnTo>
                    <a:pt x="2903" y="586"/>
                  </a:lnTo>
                  <a:lnTo>
                    <a:pt x="2916" y="637"/>
                  </a:lnTo>
                  <a:lnTo>
                    <a:pt x="2930" y="690"/>
                  </a:lnTo>
                  <a:lnTo>
                    <a:pt x="2944" y="745"/>
                  </a:lnTo>
                  <a:lnTo>
                    <a:pt x="2958" y="800"/>
                  </a:lnTo>
                  <a:lnTo>
                    <a:pt x="2971" y="855"/>
                  </a:lnTo>
                  <a:lnTo>
                    <a:pt x="2985" y="909"/>
                  </a:lnTo>
                  <a:lnTo>
                    <a:pt x="2999" y="964"/>
                  </a:lnTo>
                  <a:lnTo>
                    <a:pt x="3012" y="1016"/>
                  </a:lnTo>
                  <a:lnTo>
                    <a:pt x="3024" y="1068"/>
                  </a:lnTo>
                  <a:lnTo>
                    <a:pt x="3036" y="1116"/>
                  </a:lnTo>
                  <a:lnTo>
                    <a:pt x="3048" y="1162"/>
                  </a:lnTo>
                  <a:lnTo>
                    <a:pt x="3058" y="1204"/>
                  </a:lnTo>
                  <a:lnTo>
                    <a:pt x="3068" y="1244"/>
                  </a:lnTo>
                  <a:lnTo>
                    <a:pt x="3076" y="1279"/>
                  </a:lnTo>
                  <a:lnTo>
                    <a:pt x="3084" y="1309"/>
                  </a:lnTo>
                  <a:lnTo>
                    <a:pt x="3090" y="1336"/>
                  </a:lnTo>
                  <a:lnTo>
                    <a:pt x="3095" y="1355"/>
                  </a:lnTo>
                  <a:lnTo>
                    <a:pt x="3098" y="1370"/>
                  </a:lnTo>
                  <a:lnTo>
                    <a:pt x="3101" y="1390"/>
                  </a:lnTo>
                  <a:lnTo>
                    <a:pt x="3099" y="1411"/>
                  </a:lnTo>
                  <a:lnTo>
                    <a:pt x="3132" y="1423"/>
                  </a:lnTo>
                  <a:lnTo>
                    <a:pt x="3162" y="1441"/>
                  </a:lnTo>
                  <a:lnTo>
                    <a:pt x="3189" y="1463"/>
                  </a:lnTo>
                  <a:lnTo>
                    <a:pt x="3212" y="1488"/>
                  </a:lnTo>
                  <a:lnTo>
                    <a:pt x="3230" y="1516"/>
                  </a:lnTo>
                  <a:lnTo>
                    <a:pt x="3244" y="1549"/>
                  </a:lnTo>
                  <a:lnTo>
                    <a:pt x="3253" y="1583"/>
                  </a:lnTo>
                  <a:lnTo>
                    <a:pt x="3570" y="1583"/>
                  </a:lnTo>
                  <a:lnTo>
                    <a:pt x="3570" y="2516"/>
                  </a:lnTo>
                  <a:lnTo>
                    <a:pt x="2302" y="2516"/>
                  </a:lnTo>
                  <a:lnTo>
                    <a:pt x="2302" y="1583"/>
                  </a:lnTo>
                  <a:lnTo>
                    <a:pt x="2619" y="1583"/>
                  </a:lnTo>
                  <a:lnTo>
                    <a:pt x="2628" y="1549"/>
                  </a:lnTo>
                  <a:lnTo>
                    <a:pt x="2641" y="1517"/>
                  </a:lnTo>
                  <a:lnTo>
                    <a:pt x="2659" y="1488"/>
                  </a:lnTo>
                  <a:lnTo>
                    <a:pt x="2682" y="1463"/>
                  </a:lnTo>
                  <a:lnTo>
                    <a:pt x="2709" y="1441"/>
                  </a:lnTo>
                  <a:lnTo>
                    <a:pt x="2738" y="1424"/>
                  </a:lnTo>
                  <a:lnTo>
                    <a:pt x="2770" y="1412"/>
                  </a:lnTo>
                  <a:lnTo>
                    <a:pt x="2760" y="1361"/>
                  </a:lnTo>
                  <a:lnTo>
                    <a:pt x="2748" y="1309"/>
                  </a:lnTo>
                  <a:lnTo>
                    <a:pt x="2735" y="1256"/>
                  </a:lnTo>
                  <a:lnTo>
                    <a:pt x="2720" y="1201"/>
                  </a:lnTo>
                  <a:lnTo>
                    <a:pt x="2705" y="1144"/>
                  </a:lnTo>
                  <a:lnTo>
                    <a:pt x="2690" y="1088"/>
                  </a:lnTo>
                  <a:lnTo>
                    <a:pt x="2674" y="1034"/>
                  </a:lnTo>
                  <a:lnTo>
                    <a:pt x="2658" y="979"/>
                  </a:lnTo>
                  <a:lnTo>
                    <a:pt x="2642" y="927"/>
                  </a:lnTo>
                  <a:lnTo>
                    <a:pt x="2627" y="879"/>
                  </a:lnTo>
                  <a:lnTo>
                    <a:pt x="2612" y="833"/>
                  </a:lnTo>
                  <a:lnTo>
                    <a:pt x="2599" y="791"/>
                  </a:lnTo>
                  <a:lnTo>
                    <a:pt x="2587" y="753"/>
                  </a:lnTo>
                  <a:lnTo>
                    <a:pt x="2576" y="722"/>
                  </a:lnTo>
                  <a:lnTo>
                    <a:pt x="2566" y="695"/>
                  </a:lnTo>
                  <a:lnTo>
                    <a:pt x="2559" y="676"/>
                  </a:lnTo>
                  <a:lnTo>
                    <a:pt x="2549" y="654"/>
                  </a:lnTo>
                  <a:lnTo>
                    <a:pt x="2538" y="640"/>
                  </a:lnTo>
                  <a:lnTo>
                    <a:pt x="2527" y="629"/>
                  </a:lnTo>
                  <a:lnTo>
                    <a:pt x="2516" y="624"/>
                  </a:lnTo>
                  <a:lnTo>
                    <a:pt x="2508" y="624"/>
                  </a:lnTo>
                  <a:lnTo>
                    <a:pt x="2499" y="627"/>
                  </a:lnTo>
                  <a:lnTo>
                    <a:pt x="2495" y="635"/>
                  </a:lnTo>
                  <a:lnTo>
                    <a:pt x="2491" y="647"/>
                  </a:lnTo>
                  <a:lnTo>
                    <a:pt x="2492" y="661"/>
                  </a:lnTo>
                  <a:lnTo>
                    <a:pt x="2497" y="679"/>
                  </a:lnTo>
                  <a:lnTo>
                    <a:pt x="2507" y="701"/>
                  </a:lnTo>
                  <a:lnTo>
                    <a:pt x="2530" y="757"/>
                  </a:lnTo>
                  <a:lnTo>
                    <a:pt x="2553" y="821"/>
                  </a:lnTo>
                  <a:lnTo>
                    <a:pt x="2576" y="890"/>
                  </a:lnTo>
                  <a:lnTo>
                    <a:pt x="2599" y="964"/>
                  </a:lnTo>
                  <a:lnTo>
                    <a:pt x="2622" y="1042"/>
                  </a:lnTo>
                  <a:lnTo>
                    <a:pt x="2645" y="1124"/>
                  </a:lnTo>
                  <a:lnTo>
                    <a:pt x="2667" y="1209"/>
                  </a:lnTo>
                  <a:lnTo>
                    <a:pt x="2687" y="1296"/>
                  </a:lnTo>
                  <a:lnTo>
                    <a:pt x="2707" y="1384"/>
                  </a:lnTo>
                  <a:lnTo>
                    <a:pt x="2672" y="1406"/>
                  </a:lnTo>
                  <a:lnTo>
                    <a:pt x="2641" y="1433"/>
                  </a:lnTo>
                  <a:lnTo>
                    <a:pt x="2615" y="1463"/>
                  </a:lnTo>
                  <a:lnTo>
                    <a:pt x="2593" y="1497"/>
                  </a:lnTo>
                  <a:lnTo>
                    <a:pt x="2576" y="1534"/>
                  </a:lnTo>
                  <a:lnTo>
                    <a:pt x="2469" y="1534"/>
                  </a:lnTo>
                  <a:lnTo>
                    <a:pt x="2438" y="1515"/>
                  </a:lnTo>
                  <a:lnTo>
                    <a:pt x="2407" y="1493"/>
                  </a:lnTo>
                  <a:lnTo>
                    <a:pt x="2381" y="1468"/>
                  </a:lnTo>
                  <a:lnTo>
                    <a:pt x="2358" y="1439"/>
                  </a:lnTo>
                  <a:lnTo>
                    <a:pt x="2337" y="1406"/>
                  </a:lnTo>
                  <a:lnTo>
                    <a:pt x="2321" y="1370"/>
                  </a:lnTo>
                  <a:lnTo>
                    <a:pt x="2309" y="1331"/>
                  </a:lnTo>
                  <a:lnTo>
                    <a:pt x="2229" y="956"/>
                  </a:lnTo>
                  <a:lnTo>
                    <a:pt x="2195" y="989"/>
                  </a:lnTo>
                  <a:lnTo>
                    <a:pt x="2156" y="1019"/>
                  </a:lnTo>
                  <a:lnTo>
                    <a:pt x="2114" y="1045"/>
                  </a:lnTo>
                  <a:lnTo>
                    <a:pt x="2067" y="1068"/>
                  </a:lnTo>
                  <a:lnTo>
                    <a:pt x="2015" y="1087"/>
                  </a:lnTo>
                  <a:lnTo>
                    <a:pt x="1959" y="1104"/>
                  </a:lnTo>
                  <a:lnTo>
                    <a:pt x="1897" y="1117"/>
                  </a:lnTo>
                  <a:lnTo>
                    <a:pt x="1830" y="1128"/>
                  </a:lnTo>
                  <a:lnTo>
                    <a:pt x="1758" y="1136"/>
                  </a:lnTo>
                  <a:lnTo>
                    <a:pt x="1679" y="1143"/>
                  </a:lnTo>
                  <a:lnTo>
                    <a:pt x="1667" y="1168"/>
                  </a:lnTo>
                  <a:lnTo>
                    <a:pt x="1650" y="1192"/>
                  </a:lnTo>
                  <a:lnTo>
                    <a:pt x="1630" y="1211"/>
                  </a:lnTo>
                  <a:lnTo>
                    <a:pt x="1607" y="1228"/>
                  </a:lnTo>
                  <a:lnTo>
                    <a:pt x="1582" y="1240"/>
                  </a:lnTo>
                  <a:lnTo>
                    <a:pt x="1554" y="1248"/>
                  </a:lnTo>
                  <a:lnTo>
                    <a:pt x="1525" y="1250"/>
                  </a:lnTo>
                  <a:lnTo>
                    <a:pt x="1502" y="1249"/>
                  </a:lnTo>
                  <a:lnTo>
                    <a:pt x="1411" y="1234"/>
                  </a:lnTo>
                  <a:lnTo>
                    <a:pt x="1327" y="1220"/>
                  </a:lnTo>
                  <a:lnTo>
                    <a:pt x="1250" y="1202"/>
                  </a:lnTo>
                  <a:lnTo>
                    <a:pt x="1179" y="1184"/>
                  </a:lnTo>
                  <a:lnTo>
                    <a:pt x="1115" y="1162"/>
                  </a:lnTo>
                  <a:lnTo>
                    <a:pt x="1057" y="1139"/>
                  </a:lnTo>
                  <a:lnTo>
                    <a:pt x="1004" y="1114"/>
                  </a:lnTo>
                  <a:lnTo>
                    <a:pt x="956" y="1085"/>
                  </a:lnTo>
                  <a:lnTo>
                    <a:pt x="914" y="1054"/>
                  </a:lnTo>
                  <a:lnTo>
                    <a:pt x="875" y="1022"/>
                  </a:lnTo>
                  <a:lnTo>
                    <a:pt x="841" y="985"/>
                  </a:lnTo>
                  <a:lnTo>
                    <a:pt x="767" y="1330"/>
                  </a:lnTo>
                  <a:lnTo>
                    <a:pt x="755" y="1370"/>
                  </a:lnTo>
                  <a:lnTo>
                    <a:pt x="739" y="1406"/>
                  </a:lnTo>
                  <a:lnTo>
                    <a:pt x="719" y="1439"/>
                  </a:lnTo>
                  <a:lnTo>
                    <a:pt x="696" y="1468"/>
                  </a:lnTo>
                  <a:lnTo>
                    <a:pt x="668" y="1493"/>
                  </a:lnTo>
                  <a:lnTo>
                    <a:pt x="639" y="1516"/>
                  </a:lnTo>
                  <a:lnTo>
                    <a:pt x="606" y="1534"/>
                  </a:lnTo>
                  <a:lnTo>
                    <a:pt x="572" y="1550"/>
                  </a:lnTo>
                  <a:lnTo>
                    <a:pt x="571" y="2882"/>
                  </a:lnTo>
                  <a:lnTo>
                    <a:pt x="567" y="2922"/>
                  </a:lnTo>
                  <a:lnTo>
                    <a:pt x="558" y="2960"/>
                  </a:lnTo>
                  <a:lnTo>
                    <a:pt x="541" y="2995"/>
                  </a:lnTo>
                  <a:lnTo>
                    <a:pt x="519" y="3026"/>
                  </a:lnTo>
                  <a:lnTo>
                    <a:pt x="491" y="3053"/>
                  </a:lnTo>
                  <a:lnTo>
                    <a:pt x="461" y="3076"/>
                  </a:lnTo>
                  <a:lnTo>
                    <a:pt x="425" y="3092"/>
                  </a:lnTo>
                  <a:lnTo>
                    <a:pt x="387" y="3102"/>
                  </a:lnTo>
                  <a:lnTo>
                    <a:pt x="347" y="3106"/>
                  </a:lnTo>
                  <a:lnTo>
                    <a:pt x="307" y="3102"/>
                  </a:lnTo>
                  <a:lnTo>
                    <a:pt x="269" y="3092"/>
                  </a:lnTo>
                  <a:lnTo>
                    <a:pt x="234" y="3076"/>
                  </a:lnTo>
                  <a:lnTo>
                    <a:pt x="202" y="3053"/>
                  </a:lnTo>
                  <a:lnTo>
                    <a:pt x="176" y="3026"/>
                  </a:lnTo>
                  <a:lnTo>
                    <a:pt x="153" y="2995"/>
                  </a:lnTo>
                  <a:lnTo>
                    <a:pt x="137" y="2960"/>
                  </a:lnTo>
                  <a:lnTo>
                    <a:pt x="126" y="2922"/>
                  </a:lnTo>
                  <a:lnTo>
                    <a:pt x="122" y="2882"/>
                  </a:lnTo>
                  <a:lnTo>
                    <a:pt x="124" y="1474"/>
                  </a:lnTo>
                  <a:lnTo>
                    <a:pt x="92" y="1444"/>
                  </a:lnTo>
                  <a:lnTo>
                    <a:pt x="64" y="1411"/>
                  </a:lnTo>
                  <a:lnTo>
                    <a:pt x="41" y="1376"/>
                  </a:lnTo>
                  <a:lnTo>
                    <a:pt x="22" y="1338"/>
                  </a:lnTo>
                  <a:lnTo>
                    <a:pt x="8" y="1299"/>
                  </a:lnTo>
                  <a:lnTo>
                    <a:pt x="1" y="1256"/>
                  </a:lnTo>
                  <a:lnTo>
                    <a:pt x="0" y="1213"/>
                  </a:lnTo>
                  <a:lnTo>
                    <a:pt x="6" y="1168"/>
                  </a:lnTo>
                  <a:lnTo>
                    <a:pt x="202" y="255"/>
                  </a:lnTo>
                  <a:lnTo>
                    <a:pt x="215" y="215"/>
                  </a:lnTo>
                  <a:lnTo>
                    <a:pt x="232" y="178"/>
                  </a:lnTo>
                  <a:lnTo>
                    <a:pt x="253" y="144"/>
                  </a:lnTo>
                  <a:lnTo>
                    <a:pt x="279" y="115"/>
                  </a:lnTo>
                  <a:lnTo>
                    <a:pt x="308" y="88"/>
                  </a:lnTo>
                  <a:lnTo>
                    <a:pt x="339" y="65"/>
                  </a:lnTo>
                  <a:lnTo>
                    <a:pt x="373" y="46"/>
                  </a:lnTo>
                  <a:lnTo>
                    <a:pt x="410" y="30"/>
                  </a:lnTo>
                  <a:lnTo>
                    <a:pt x="446" y="18"/>
                  </a:lnTo>
                  <a:lnTo>
                    <a:pt x="484" y="8"/>
                  </a:lnTo>
                  <a:lnTo>
                    <a:pt x="521" y="2"/>
                  </a:lnTo>
                  <a:lnTo>
                    <a:pt x="5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
            <a:extLst>
              <a:ext uri="{FF2B5EF4-FFF2-40B4-BE49-F238E27FC236}">
                <a16:creationId xmlns:a16="http://schemas.microsoft.com/office/drawing/2014/main" id="{633FBF13-0864-35BD-C2FC-6C527EADF090}"/>
              </a:ext>
            </a:extLst>
          </p:cNvPr>
          <p:cNvGrpSpPr/>
          <p:nvPr/>
        </p:nvGrpSpPr>
        <p:grpSpPr>
          <a:xfrm>
            <a:off x="5563147" y="4777433"/>
            <a:ext cx="271275" cy="392294"/>
            <a:chOff x="-1103313" y="2519361"/>
            <a:chExt cx="414338" cy="598488"/>
          </a:xfrm>
        </p:grpSpPr>
        <p:sp>
          <p:nvSpPr>
            <p:cNvPr id="9" name="Freeform 91">
              <a:extLst>
                <a:ext uri="{FF2B5EF4-FFF2-40B4-BE49-F238E27FC236}">
                  <a16:creationId xmlns:a16="http://schemas.microsoft.com/office/drawing/2014/main" id="{E1733AC6-1E7C-8D18-2807-DFB6D3847F15}"/>
                </a:ext>
              </a:extLst>
            </p:cNvPr>
            <p:cNvSpPr>
              <a:spLocks noEditPoints="1"/>
            </p:cNvSpPr>
            <p:nvPr/>
          </p:nvSpPr>
          <p:spPr bwMode="auto">
            <a:xfrm>
              <a:off x="-1103313" y="2519361"/>
              <a:ext cx="414338" cy="598488"/>
            </a:xfrm>
            <a:custGeom>
              <a:avLst/>
              <a:gdLst>
                <a:gd name="T0" fmla="*/ 1610 w 2347"/>
                <a:gd name="T1" fmla="*/ 805 h 3396"/>
                <a:gd name="T2" fmla="*/ 373 w 2347"/>
                <a:gd name="T3" fmla="*/ 449 h 3396"/>
                <a:gd name="T4" fmla="*/ 283 w 2347"/>
                <a:gd name="T5" fmla="*/ 477 h 3396"/>
                <a:gd name="T6" fmla="*/ 226 w 2347"/>
                <a:gd name="T7" fmla="*/ 547 h 3396"/>
                <a:gd name="T8" fmla="*/ 213 w 2347"/>
                <a:gd name="T9" fmla="*/ 3025 h 3396"/>
                <a:gd name="T10" fmla="*/ 241 w 2347"/>
                <a:gd name="T11" fmla="*/ 3113 h 3396"/>
                <a:gd name="T12" fmla="*/ 311 w 2347"/>
                <a:gd name="T13" fmla="*/ 3170 h 3396"/>
                <a:gd name="T14" fmla="*/ 1974 w 2347"/>
                <a:gd name="T15" fmla="*/ 3183 h 3396"/>
                <a:gd name="T16" fmla="*/ 2064 w 2347"/>
                <a:gd name="T17" fmla="*/ 3155 h 3396"/>
                <a:gd name="T18" fmla="*/ 2122 w 2347"/>
                <a:gd name="T19" fmla="*/ 3086 h 3396"/>
                <a:gd name="T20" fmla="*/ 2134 w 2347"/>
                <a:gd name="T21" fmla="*/ 609 h 3396"/>
                <a:gd name="T22" fmla="*/ 2107 w 2347"/>
                <a:gd name="T23" fmla="*/ 520 h 3396"/>
                <a:gd name="T24" fmla="*/ 2036 w 2347"/>
                <a:gd name="T25" fmla="*/ 462 h 3396"/>
                <a:gd name="T26" fmla="*/ 1821 w 2347"/>
                <a:gd name="T27" fmla="*/ 449 h 3396"/>
                <a:gd name="T28" fmla="*/ 1809 w 2347"/>
                <a:gd name="T29" fmla="*/ 894 h 3396"/>
                <a:gd name="T30" fmla="*/ 1755 w 2347"/>
                <a:gd name="T31" fmla="*/ 971 h 3396"/>
                <a:gd name="T32" fmla="*/ 1668 w 2347"/>
                <a:gd name="T33" fmla="*/ 1011 h 3396"/>
                <a:gd name="T34" fmla="*/ 679 w 2347"/>
                <a:gd name="T35" fmla="*/ 1011 h 3396"/>
                <a:gd name="T36" fmla="*/ 592 w 2347"/>
                <a:gd name="T37" fmla="*/ 971 h 3396"/>
                <a:gd name="T38" fmla="*/ 538 w 2347"/>
                <a:gd name="T39" fmla="*/ 894 h 3396"/>
                <a:gd name="T40" fmla="*/ 526 w 2347"/>
                <a:gd name="T41" fmla="*/ 449 h 3396"/>
                <a:gd name="T42" fmla="*/ 1152 w 2347"/>
                <a:gd name="T43" fmla="*/ 75 h 3396"/>
                <a:gd name="T44" fmla="*/ 1104 w 2347"/>
                <a:gd name="T45" fmla="*/ 112 h 3396"/>
                <a:gd name="T46" fmla="*/ 1096 w 2347"/>
                <a:gd name="T47" fmla="*/ 174 h 3396"/>
                <a:gd name="T48" fmla="*/ 1132 w 2347"/>
                <a:gd name="T49" fmla="*/ 222 h 3396"/>
                <a:gd name="T50" fmla="*/ 1195 w 2347"/>
                <a:gd name="T51" fmla="*/ 230 h 3396"/>
                <a:gd name="T52" fmla="*/ 1244 w 2347"/>
                <a:gd name="T53" fmla="*/ 193 h 3396"/>
                <a:gd name="T54" fmla="*/ 1251 w 2347"/>
                <a:gd name="T55" fmla="*/ 131 h 3396"/>
                <a:gd name="T56" fmla="*/ 1215 w 2347"/>
                <a:gd name="T57" fmla="*/ 84 h 3396"/>
                <a:gd name="T58" fmla="*/ 989 w 2347"/>
                <a:gd name="T59" fmla="*/ 0 h 3396"/>
                <a:gd name="T60" fmla="*/ 1421 w 2347"/>
                <a:gd name="T61" fmla="*/ 12 h 3396"/>
                <a:gd name="T62" fmla="*/ 1493 w 2347"/>
                <a:gd name="T63" fmla="*/ 71 h 3396"/>
                <a:gd name="T64" fmla="*/ 1519 w 2347"/>
                <a:gd name="T65" fmla="*/ 161 h 3396"/>
                <a:gd name="T66" fmla="*/ 2021 w 2347"/>
                <a:gd name="T67" fmla="*/ 241 h 3396"/>
                <a:gd name="T68" fmla="*/ 2149 w 2347"/>
                <a:gd name="T69" fmla="*/ 281 h 3396"/>
                <a:gd name="T70" fmla="*/ 2253 w 2347"/>
                <a:gd name="T71" fmla="*/ 362 h 3396"/>
                <a:gd name="T72" fmla="*/ 2323 w 2347"/>
                <a:gd name="T73" fmla="*/ 475 h 3396"/>
                <a:gd name="T74" fmla="*/ 2347 w 2347"/>
                <a:gd name="T75" fmla="*/ 609 h 3396"/>
                <a:gd name="T76" fmla="*/ 2335 w 2347"/>
                <a:gd name="T77" fmla="*/ 3115 h 3396"/>
                <a:gd name="T78" fmla="*/ 2281 w 2347"/>
                <a:gd name="T79" fmla="*/ 3236 h 3396"/>
                <a:gd name="T80" fmla="*/ 2187 w 2347"/>
                <a:gd name="T81" fmla="*/ 3329 h 3396"/>
                <a:gd name="T82" fmla="*/ 2066 w 2347"/>
                <a:gd name="T83" fmla="*/ 3384 h 3396"/>
                <a:gd name="T84" fmla="*/ 373 w 2347"/>
                <a:gd name="T85" fmla="*/ 3396 h 3396"/>
                <a:gd name="T86" fmla="*/ 238 w 2347"/>
                <a:gd name="T87" fmla="*/ 3370 h 3396"/>
                <a:gd name="T88" fmla="*/ 125 w 2347"/>
                <a:gd name="T89" fmla="*/ 3301 h 3396"/>
                <a:gd name="T90" fmla="*/ 44 w 2347"/>
                <a:gd name="T91" fmla="*/ 3198 h 3396"/>
                <a:gd name="T92" fmla="*/ 3 w 2347"/>
                <a:gd name="T93" fmla="*/ 3070 h 3396"/>
                <a:gd name="T94" fmla="*/ 3 w 2347"/>
                <a:gd name="T95" fmla="*/ 562 h 3396"/>
                <a:gd name="T96" fmla="*/ 44 w 2347"/>
                <a:gd name="T97" fmla="*/ 435 h 3396"/>
                <a:gd name="T98" fmla="*/ 125 w 2347"/>
                <a:gd name="T99" fmla="*/ 331 h 3396"/>
                <a:gd name="T100" fmla="*/ 238 w 2347"/>
                <a:gd name="T101" fmla="*/ 262 h 3396"/>
                <a:gd name="T102" fmla="*/ 373 w 2347"/>
                <a:gd name="T103" fmla="*/ 238 h 3396"/>
                <a:gd name="T104" fmla="*/ 831 w 2347"/>
                <a:gd name="T105" fmla="*/ 128 h 3396"/>
                <a:gd name="T106" fmla="*/ 875 w 2347"/>
                <a:gd name="T107" fmla="*/ 47 h 3396"/>
                <a:gd name="T108" fmla="*/ 956 w 2347"/>
                <a:gd name="T109" fmla="*/ 3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7" h="3396">
                  <a:moveTo>
                    <a:pt x="737" y="465"/>
                  </a:moveTo>
                  <a:lnTo>
                    <a:pt x="737" y="805"/>
                  </a:lnTo>
                  <a:lnTo>
                    <a:pt x="1610" y="805"/>
                  </a:lnTo>
                  <a:lnTo>
                    <a:pt x="1610" y="465"/>
                  </a:lnTo>
                  <a:lnTo>
                    <a:pt x="737" y="465"/>
                  </a:lnTo>
                  <a:close/>
                  <a:moveTo>
                    <a:pt x="373" y="449"/>
                  </a:moveTo>
                  <a:lnTo>
                    <a:pt x="341" y="453"/>
                  </a:lnTo>
                  <a:lnTo>
                    <a:pt x="311" y="462"/>
                  </a:lnTo>
                  <a:lnTo>
                    <a:pt x="283" y="477"/>
                  </a:lnTo>
                  <a:lnTo>
                    <a:pt x="260" y="496"/>
                  </a:lnTo>
                  <a:lnTo>
                    <a:pt x="241" y="520"/>
                  </a:lnTo>
                  <a:lnTo>
                    <a:pt x="226" y="547"/>
                  </a:lnTo>
                  <a:lnTo>
                    <a:pt x="217" y="577"/>
                  </a:lnTo>
                  <a:lnTo>
                    <a:pt x="213" y="609"/>
                  </a:lnTo>
                  <a:lnTo>
                    <a:pt x="213" y="3025"/>
                  </a:lnTo>
                  <a:lnTo>
                    <a:pt x="217" y="3056"/>
                  </a:lnTo>
                  <a:lnTo>
                    <a:pt x="226" y="3086"/>
                  </a:lnTo>
                  <a:lnTo>
                    <a:pt x="241" y="3113"/>
                  </a:lnTo>
                  <a:lnTo>
                    <a:pt x="260" y="3136"/>
                  </a:lnTo>
                  <a:lnTo>
                    <a:pt x="283" y="3155"/>
                  </a:lnTo>
                  <a:lnTo>
                    <a:pt x="311" y="3170"/>
                  </a:lnTo>
                  <a:lnTo>
                    <a:pt x="341" y="3180"/>
                  </a:lnTo>
                  <a:lnTo>
                    <a:pt x="373" y="3183"/>
                  </a:lnTo>
                  <a:lnTo>
                    <a:pt x="1974" y="3183"/>
                  </a:lnTo>
                  <a:lnTo>
                    <a:pt x="2006" y="3180"/>
                  </a:lnTo>
                  <a:lnTo>
                    <a:pt x="2036" y="3170"/>
                  </a:lnTo>
                  <a:lnTo>
                    <a:pt x="2064" y="3155"/>
                  </a:lnTo>
                  <a:lnTo>
                    <a:pt x="2087" y="3136"/>
                  </a:lnTo>
                  <a:lnTo>
                    <a:pt x="2107" y="3113"/>
                  </a:lnTo>
                  <a:lnTo>
                    <a:pt x="2122" y="3086"/>
                  </a:lnTo>
                  <a:lnTo>
                    <a:pt x="2131" y="3056"/>
                  </a:lnTo>
                  <a:lnTo>
                    <a:pt x="2134" y="3025"/>
                  </a:lnTo>
                  <a:lnTo>
                    <a:pt x="2134" y="609"/>
                  </a:lnTo>
                  <a:lnTo>
                    <a:pt x="2131" y="577"/>
                  </a:lnTo>
                  <a:lnTo>
                    <a:pt x="2122" y="547"/>
                  </a:lnTo>
                  <a:lnTo>
                    <a:pt x="2107" y="520"/>
                  </a:lnTo>
                  <a:lnTo>
                    <a:pt x="2087" y="496"/>
                  </a:lnTo>
                  <a:lnTo>
                    <a:pt x="2064" y="477"/>
                  </a:lnTo>
                  <a:lnTo>
                    <a:pt x="2036" y="462"/>
                  </a:lnTo>
                  <a:lnTo>
                    <a:pt x="2006" y="453"/>
                  </a:lnTo>
                  <a:lnTo>
                    <a:pt x="1974" y="449"/>
                  </a:lnTo>
                  <a:lnTo>
                    <a:pt x="1821" y="449"/>
                  </a:lnTo>
                  <a:lnTo>
                    <a:pt x="1821" y="829"/>
                  </a:lnTo>
                  <a:lnTo>
                    <a:pt x="1818" y="862"/>
                  </a:lnTo>
                  <a:lnTo>
                    <a:pt x="1809" y="894"/>
                  </a:lnTo>
                  <a:lnTo>
                    <a:pt x="1795" y="923"/>
                  </a:lnTo>
                  <a:lnTo>
                    <a:pt x="1777" y="948"/>
                  </a:lnTo>
                  <a:lnTo>
                    <a:pt x="1755" y="971"/>
                  </a:lnTo>
                  <a:lnTo>
                    <a:pt x="1729" y="989"/>
                  </a:lnTo>
                  <a:lnTo>
                    <a:pt x="1700" y="1003"/>
                  </a:lnTo>
                  <a:lnTo>
                    <a:pt x="1668" y="1011"/>
                  </a:lnTo>
                  <a:lnTo>
                    <a:pt x="1635" y="1014"/>
                  </a:lnTo>
                  <a:lnTo>
                    <a:pt x="712" y="1014"/>
                  </a:lnTo>
                  <a:lnTo>
                    <a:pt x="679" y="1011"/>
                  </a:lnTo>
                  <a:lnTo>
                    <a:pt x="647" y="1003"/>
                  </a:lnTo>
                  <a:lnTo>
                    <a:pt x="618" y="989"/>
                  </a:lnTo>
                  <a:lnTo>
                    <a:pt x="592" y="971"/>
                  </a:lnTo>
                  <a:lnTo>
                    <a:pt x="570" y="948"/>
                  </a:lnTo>
                  <a:lnTo>
                    <a:pt x="552" y="923"/>
                  </a:lnTo>
                  <a:lnTo>
                    <a:pt x="538" y="894"/>
                  </a:lnTo>
                  <a:lnTo>
                    <a:pt x="529" y="862"/>
                  </a:lnTo>
                  <a:lnTo>
                    <a:pt x="526" y="829"/>
                  </a:lnTo>
                  <a:lnTo>
                    <a:pt x="526" y="449"/>
                  </a:lnTo>
                  <a:lnTo>
                    <a:pt x="373" y="449"/>
                  </a:lnTo>
                  <a:close/>
                  <a:moveTo>
                    <a:pt x="1174" y="73"/>
                  </a:moveTo>
                  <a:lnTo>
                    <a:pt x="1152" y="75"/>
                  </a:lnTo>
                  <a:lnTo>
                    <a:pt x="1132" y="84"/>
                  </a:lnTo>
                  <a:lnTo>
                    <a:pt x="1116" y="96"/>
                  </a:lnTo>
                  <a:lnTo>
                    <a:pt x="1104" y="112"/>
                  </a:lnTo>
                  <a:lnTo>
                    <a:pt x="1096" y="131"/>
                  </a:lnTo>
                  <a:lnTo>
                    <a:pt x="1093" y="153"/>
                  </a:lnTo>
                  <a:lnTo>
                    <a:pt x="1096" y="174"/>
                  </a:lnTo>
                  <a:lnTo>
                    <a:pt x="1104" y="193"/>
                  </a:lnTo>
                  <a:lnTo>
                    <a:pt x="1116" y="209"/>
                  </a:lnTo>
                  <a:lnTo>
                    <a:pt x="1132" y="222"/>
                  </a:lnTo>
                  <a:lnTo>
                    <a:pt x="1152" y="230"/>
                  </a:lnTo>
                  <a:lnTo>
                    <a:pt x="1174" y="234"/>
                  </a:lnTo>
                  <a:lnTo>
                    <a:pt x="1195" y="230"/>
                  </a:lnTo>
                  <a:lnTo>
                    <a:pt x="1215" y="222"/>
                  </a:lnTo>
                  <a:lnTo>
                    <a:pt x="1231" y="209"/>
                  </a:lnTo>
                  <a:lnTo>
                    <a:pt x="1244" y="193"/>
                  </a:lnTo>
                  <a:lnTo>
                    <a:pt x="1251" y="174"/>
                  </a:lnTo>
                  <a:lnTo>
                    <a:pt x="1254" y="153"/>
                  </a:lnTo>
                  <a:lnTo>
                    <a:pt x="1251" y="131"/>
                  </a:lnTo>
                  <a:lnTo>
                    <a:pt x="1244" y="112"/>
                  </a:lnTo>
                  <a:lnTo>
                    <a:pt x="1231" y="96"/>
                  </a:lnTo>
                  <a:lnTo>
                    <a:pt x="1215" y="84"/>
                  </a:lnTo>
                  <a:lnTo>
                    <a:pt x="1195" y="75"/>
                  </a:lnTo>
                  <a:lnTo>
                    <a:pt x="1174" y="73"/>
                  </a:lnTo>
                  <a:close/>
                  <a:moveTo>
                    <a:pt x="989" y="0"/>
                  </a:moveTo>
                  <a:lnTo>
                    <a:pt x="1358" y="0"/>
                  </a:lnTo>
                  <a:lnTo>
                    <a:pt x="1390" y="3"/>
                  </a:lnTo>
                  <a:lnTo>
                    <a:pt x="1421" y="12"/>
                  </a:lnTo>
                  <a:lnTo>
                    <a:pt x="1449" y="27"/>
                  </a:lnTo>
                  <a:lnTo>
                    <a:pt x="1472" y="47"/>
                  </a:lnTo>
                  <a:lnTo>
                    <a:pt x="1493" y="71"/>
                  </a:lnTo>
                  <a:lnTo>
                    <a:pt x="1507" y="98"/>
                  </a:lnTo>
                  <a:lnTo>
                    <a:pt x="1516" y="128"/>
                  </a:lnTo>
                  <a:lnTo>
                    <a:pt x="1519" y="161"/>
                  </a:lnTo>
                  <a:lnTo>
                    <a:pt x="1519" y="238"/>
                  </a:lnTo>
                  <a:lnTo>
                    <a:pt x="1974" y="238"/>
                  </a:lnTo>
                  <a:lnTo>
                    <a:pt x="2021" y="241"/>
                  </a:lnTo>
                  <a:lnTo>
                    <a:pt x="2066" y="250"/>
                  </a:lnTo>
                  <a:lnTo>
                    <a:pt x="2109" y="262"/>
                  </a:lnTo>
                  <a:lnTo>
                    <a:pt x="2149" y="281"/>
                  </a:lnTo>
                  <a:lnTo>
                    <a:pt x="2187" y="304"/>
                  </a:lnTo>
                  <a:lnTo>
                    <a:pt x="2222" y="331"/>
                  </a:lnTo>
                  <a:lnTo>
                    <a:pt x="2253" y="362"/>
                  </a:lnTo>
                  <a:lnTo>
                    <a:pt x="2281" y="397"/>
                  </a:lnTo>
                  <a:lnTo>
                    <a:pt x="2303" y="435"/>
                  </a:lnTo>
                  <a:lnTo>
                    <a:pt x="2323" y="475"/>
                  </a:lnTo>
                  <a:lnTo>
                    <a:pt x="2336" y="518"/>
                  </a:lnTo>
                  <a:lnTo>
                    <a:pt x="2344" y="562"/>
                  </a:lnTo>
                  <a:lnTo>
                    <a:pt x="2347" y="609"/>
                  </a:lnTo>
                  <a:lnTo>
                    <a:pt x="2347" y="3025"/>
                  </a:lnTo>
                  <a:lnTo>
                    <a:pt x="2344" y="3070"/>
                  </a:lnTo>
                  <a:lnTo>
                    <a:pt x="2335" y="3115"/>
                  </a:lnTo>
                  <a:lnTo>
                    <a:pt x="2323" y="3159"/>
                  </a:lnTo>
                  <a:lnTo>
                    <a:pt x="2303" y="3198"/>
                  </a:lnTo>
                  <a:lnTo>
                    <a:pt x="2281" y="3236"/>
                  </a:lnTo>
                  <a:lnTo>
                    <a:pt x="2253" y="3270"/>
                  </a:lnTo>
                  <a:lnTo>
                    <a:pt x="2222" y="3301"/>
                  </a:lnTo>
                  <a:lnTo>
                    <a:pt x="2187" y="3329"/>
                  </a:lnTo>
                  <a:lnTo>
                    <a:pt x="2149" y="3352"/>
                  </a:lnTo>
                  <a:lnTo>
                    <a:pt x="2109" y="3370"/>
                  </a:lnTo>
                  <a:lnTo>
                    <a:pt x="2066" y="3384"/>
                  </a:lnTo>
                  <a:lnTo>
                    <a:pt x="2021" y="3393"/>
                  </a:lnTo>
                  <a:lnTo>
                    <a:pt x="1974" y="3396"/>
                  </a:lnTo>
                  <a:lnTo>
                    <a:pt x="373" y="3396"/>
                  </a:lnTo>
                  <a:lnTo>
                    <a:pt x="326" y="3393"/>
                  </a:lnTo>
                  <a:lnTo>
                    <a:pt x="281" y="3384"/>
                  </a:lnTo>
                  <a:lnTo>
                    <a:pt x="238" y="3370"/>
                  </a:lnTo>
                  <a:lnTo>
                    <a:pt x="198" y="3352"/>
                  </a:lnTo>
                  <a:lnTo>
                    <a:pt x="160" y="3329"/>
                  </a:lnTo>
                  <a:lnTo>
                    <a:pt x="125" y="3301"/>
                  </a:lnTo>
                  <a:lnTo>
                    <a:pt x="94" y="3270"/>
                  </a:lnTo>
                  <a:lnTo>
                    <a:pt x="66" y="3236"/>
                  </a:lnTo>
                  <a:lnTo>
                    <a:pt x="44" y="3198"/>
                  </a:lnTo>
                  <a:lnTo>
                    <a:pt x="25" y="3159"/>
                  </a:lnTo>
                  <a:lnTo>
                    <a:pt x="11" y="3115"/>
                  </a:lnTo>
                  <a:lnTo>
                    <a:pt x="3" y="3070"/>
                  </a:lnTo>
                  <a:lnTo>
                    <a:pt x="0" y="3025"/>
                  </a:lnTo>
                  <a:lnTo>
                    <a:pt x="0" y="609"/>
                  </a:lnTo>
                  <a:lnTo>
                    <a:pt x="3" y="562"/>
                  </a:lnTo>
                  <a:lnTo>
                    <a:pt x="11" y="518"/>
                  </a:lnTo>
                  <a:lnTo>
                    <a:pt x="25" y="475"/>
                  </a:lnTo>
                  <a:lnTo>
                    <a:pt x="44" y="435"/>
                  </a:lnTo>
                  <a:lnTo>
                    <a:pt x="66" y="397"/>
                  </a:lnTo>
                  <a:lnTo>
                    <a:pt x="94" y="362"/>
                  </a:lnTo>
                  <a:lnTo>
                    <a:pt x="125" y="331"/>
                  </a:lnTo>
                  <a:lnTo>
                    <a:pt x="160" y="304"/>
                  </a:lnTo>
                  <a:lnTo>
                    <a:pt x="198" y="281"/>
                  </a:lnTo>
                  <a:lnTo>
                    <a:pt x="238" y="262"/>
                  </a:lnTo>
                  <a:lnTo>
                    <a:pt x="281" y="250"/>
                  </a:lnTo>
                  <a:lnTo>
                    <a:pt x="326" y="241"/>
                  </a:lnTo>
                  <a:lnTo>
                    <a:pt x="373" y="238"/>
                  </a:lnTo>
                  <a:lnTo>
                    <a:pt x="828" y="238"/>
                  </a:lnTo>
                  <a:lnTo>
                    <a:pt x="828" y="161"/>
                  </a:lnTo>
                  <a:lnTo>
                    <a:pt x="831" y="128"/>
                  </a:lnTo>
                  <a:lnTo>
                    <a:pt x="840" y="98"/>
                  </a:lnTo>
                  <a:lnTo>
                    <a:pt x="855" y="71"/>
                  </a:lnTo>
                  <a:lnTo>
                    <a:pt x="875" y="47"/>
                  </a:lnTo>
                  <a:lnTo>
                    <a:pt x="898" y="27"/>
                  </a:lnTo>
                  <a:lnTo>
                    <a:pt x="926" y="12"/>
                  </a:lnTo>
                  <a:lnTo>
                    <a:pt x="956" y="3"/>
                  </a:lnTo>
                  <a:lnTo>
                    <a:pt x="98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92">
              <a:extLst>
                <a:ext uri="{FF2B5EF4-FFF2-40B4-BE49-F238E27FC236}">
                  <a16:creationId xmlns:a16="http://schemas.microsoft.com/office/drawing/2014/main" id="{0BDF7109-C79B-0562-57A2-2DC41C8971D9}"/>
                </a:ext>
              </a:extLst>
            </p:cNvPr>
            <p:cNvSpPr>
              <a:spLocks noEditPoints="1"/>
            </p:cNvSpPr>
            <p:nvPr/>
          </p:nvSpPr>
          <p:spPr bwMode="auto">
            <a:xfrm>
              <a:off x="-1041401" y="2757488"/>
              <a:ext cx="96838" cy="79375"/>
            </a:xfrm>
            <a:custGeom>
              <a:avLst/>
              <a:gdLst>
                <a:gd name="T0" fmla="*/ 75 w 546"/>
                <a:gd name="T1" fmla="*/ 69 h 453"/>
                <a:gd name="T2" fmla="*/ 60 w 546"/>
                <a:gd name="T3" fmla="*/ 83 h 453"/>
                <a:gd name="T4" fmla="*/ 58 w 546"/>
                <a:gd name="T5" fmla="*/ 367 h 453"/>
                <a:gd name="T6" fmla="*/ 66 w 546"/>
                <a:gd name="T7" fmla="*/ 388 h 453"/>
                <a:gd name="T8" fmla="*/ 86 w 546"/>
                <a:gd name="T9" fmla="*/ 395 h 453"/>
                <a:gd name="T10" fmla="*/ 345 w 546"/>
                <a:gd name="T11" fmla="*/ 393 h 453"/>
                <a:gd name="T12" fmla="*/ 361 w 546"/>
                <a:gd name="T13" fmla="*/ 378 h 453"/>
                <a:gd name="T14" fmla="*/ 363 w 546"/>
                <a:gd name="T15" fmla="*/ 290 h 453"/>
                <a:gd name="T16" fmla="*/ 292 w 546"/>
                <a:gd name="T17" fmla="*/ 372 h 453"/>
                <a:gd name="T18" fmla="*/ 265 w 546"/>
                <a:gd name="T19" fmla="*/ 380 h 453"/>
                <a:gd name="T20" fmla="*/ 249 w 546"/>
                <a:gd name="T21" fmla="*/ 379 h 453"/>
                <a:gd name="T22" fmla="*/ 225 w 546"/>
                <a:gd name="T23" fmla="*/ 366 h 453"/>
                <a:gd name="T24" fmla="*/ 91 w 546"/>
                <a:gd name="T25" fmla="*/ 238 h 453"/>
                <a:gd name="T26" fmla="*/ 84 w 546"/>
                <a:gd name="T27" fmla="*/ 206 h 453"/>
                <a:gd name="T28" fmla="*/ 98 w 546"/>
                <a:gd name="T29" fmla="*/ 176 h 453"/>
                <a:gd name="T30" fmla="*/ 127 w 546"/>
                <a:gd name="T31" fmla="*/ 160 h 453"/>
                <a:gd name="T32" fmla="*/ 159 w 546"/>
                <a:gd name="T33" fmla="*/ 164 h 453"/>
                <a:gd name="T34" fmla="*/ 218 w 546"/>
                <a:gd name="T35" fmla="*/ 214 h 453"/>
                <a:gd name="T36" fmla="*/ 248 w 546"/>
                <a:gd name="T37" fmla="*/ 228 h 453"/>
                <a:gd name="T38" fmla="*/ 279 w 546"/>
                <a:gd name="T39" fmla="*/ 221 h 453"/>
                <a:gd name="T40" fmla="*/ 363 w 546"/>
                <a:gd name="T41" fmla="*/ 125 h 453"/>
                <a:gd name="T42" fmla="*/ 361 w 546"/>
                <a:gd name="T43" fmla="*/ 83 h 453"/>
                <a:gd name="T44" fmla="*/ 345 w 546"/>
                <a:gd name="T45" fmla="*/ 69 h 453"/>
                <a:gd name="T46" fmla="*/ 86 w 546"/>
                <a:gd name="T47" fmla="*/ 66 h 453"/>
                <a:gd name="T48" fmla="*/ 513 w 546"/>
                <a:gd name="T49" fmla="*/ 4 h 453"/>
                <a:gd name="T50" fmla="*/ 539 w 546"/>
                <a:gd name="T51" fmla="*/ 25 h 453"/>
                <a:gd name="T52" fmla="*/ 546 w 546"/>
                <a:gd name="T53" fmla="*/ 57 h 453"/>
                <a:gd name="T54" fmla="*/ 533 w 546"/>
                <a:gd name="T55" fmla="*/ 87 h 453"/>
                <a:gd name="T56" fmla="*/ 421 w 546"/>
                <a:gd name="T57" fmla="*/ 367 h 453"/>
                <a:gd name="T58" fmla="*/ 409 w 546"/>
                <a:gd name="T59" fmla="*/ 410 h 453"/>
                <a:gd name="T60" fmla="*/ 378 w 546"/>
                <a:gd name="T61" fmla="*/ 441 h 453"/>
                <a:gd name="T62" fmla="*/ 335 w 546"/>
                <a:gd name="T63" fmla="*/ 453 h 453"/>
                <a:gd name="T64" fmla="*/ 63 w 546"/>
                <a:gd name="T65" fmla="*/ 449 h 453"/>
                <a:gd name="T66" fmla="*/ 26 w 546"/>
                <a:gd name="T67" fmla="*/ 428 h 453"/>
                <a:gd name="T68" fmla="*/ 3 w 546"/>
                <a:gd name="T69" fmla="*/ 390 h 453"/>
                <a:gd name="T70" fmla="*/ 0 w 546"/>
                <a:gd name="T71" fmla="*/ 95 h 453"/>
                <a:gd name="T72" fmla="*/ 12 w 546"/>
                <a:gd name="T73" fmla="*/ 52 h 453"/>
                <a:gd name="T74" fmla="*/ 43 w 546"/>
                <a:gd name="T75" fmla="*/ 21 h 453"/>
                <a:gd name="T76" fmla="*/ 86 w 546"/>
                <a:gd name="T77" fmla="*/ 9 h 453"/>
                <a:gd name="T78" fmla="*/ 356 w 546"/>
                <a:gd name="T79" fmla="*/ 11 h 453"/>
                <a:gd name="T80" fmla="*/ 391 w 546"/>
                <a:gd name="T81" fmla="*/ 30 h 453"/>
                <a:gd name="T82" fmla="*/ 415 w 546"/>
                <a:gd name="T83" fmla="*/ 63 h 453"/>
                <a:gd name="T84" fmla="*/ 465 w 546"/>
                <a:gd name="T85" fmla="*/ 8 h 453"/>
                <a:gd name="T86" fmla="*/ 497 w 546"/>
                <a:gd name="T87"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53">
                  <a:moveTo>
                    <a:pt x="86" y="66"/>
                  </a:moveTo>
                  <a:lnTo>
                    <a:pt x="75" y="69"/>
                  </a:lnTo>
                  <a:lnTo>
                    <a:pt x="66" y="75"/>
                  </a:lnTo>
                  <a:lnTo>
                    <a:pt x="60" y="83"/>
                  </a:lnTo>
                  <a:lnTo>
                    <a:pt x="58" y="95"/>
                  </a:lnTo>
                  <a:lnTo>
                    <a:pt x="58" y="367"/>
                  </a:lnTo>
                  <a:lnTo>
                    <a:pt x="60" y="378"/>
                  </a:lnTo>
                  <a:lnTo>
                    <a:pt x="66" y="388"/>
                  </a:lnTo>
                  <a:lnTo>
                    <a:pt x="75" y="393"/>
                  </a:lnTo>
                  <a:lnTo>
                    <a:pt x="86" y="395"/>
                  </a:lnTo>
                  <a:lnTo>
                    <a:pt x="335" y="395"/>
                  </a:lnTo>
                  <a:lnTo>
                    <a:pt x="345" y="393"/>
                  </a:lnTo>
                  <a:lnTo>
                    <a:pt x="355" y="388"/>
                  </a:lnTo>
                  <a:lnTo>
                    <a:pt x="361" y="378"/>
                  </a:lnTo>
                  <a:lnTo>
                    <a:pt x="363" y="367"/>
                  </a:lnTo>
                  <a:lnTo>
                    <a:pt x="363" y="290"/>
                  </a:lnTo>
                  <a:lnTo>
                    <a:pt x="302" y="362"/>
                  </a:lnTo>
                  <a:lnTo>
                    <a:pt x="292" y="372"/>
                  </a:lnTo>
                  <a:lnTo>
                    <a:pt x="279" y="378"/>
                  </a:lnTo>
                  <a:lnTo>
                    <a:pt x="265" y="380"/>
                  </a:lnTo>
                  <a:lnTo>
                    <a:pt x="262" y="380"/>
                  </a:lnTo>
                  <a:lnTo>
                    <a:pt x="249" y="379"/>
                  </a:lnTo>
                  <a:lnTo>
                    <a:pt x="236" y="374"/>
                  </a:lnTo>
                  <a:lnTo>
                    <a:pt x="225" y="366"/>
                  </a:lnTo>
                  <a:lnTo>
                    <a:pt x="101" y="252"/>
                  </a:lnTo>
                  <a:lnTo>
                    <a:pt x="91" y="238"/>
                  </a:lnTo>
                  <a:lnTo>
                    <a:pt x="85" y="223"/>
                  </a:lnTo>
                  <a:lnTo>
                    <a:pt x="84" y="206"/>
                  </a:lnTo>
                  <a:lnTo>
                    <a:pt x="89" y="191"/>
                  </a:lnTo>
                  <a:lnTo>
                    <a:pt x="98" y="176"/>
                  </a:lnTo>
                  <a:lnTo>
                    <a:pt x="112" y="166"/>
                  </a:lnTo>
                  <a:lnTo>
                    <a:pt x="127" y="160"/>
                  </a:lnTo>
                  <a:lnTo>
                    <a:pt x="143" y="160"/>
                  </a:lnTo>
                  <a:lnTo>
                    <a:pt x="159" y="164"/>
                  </a:lnTo>
                  <a:lnTo>
                    <a:pt x="173" y="174"/>
                  </a:lnTo>
                  <a:lnTo>
                    <a:pt x="218" y="214"/>
                  </a:lnTo>
                  <a:lnTo>
                    <a:pt x="232" y="224"/>
                  </a:lnTo>
                  <a:lnTo>
                    <a:pt x="248" y="228"/>
                  </a:lnTo>
                  <a:lnTo>
                    <a:pt x="264" y="227"/>
                  </a:lnTo>
                  <a:lnTo>
                    <a:pt x="279" y="221"/>
                  </a:lnTo>
                  <a:lnTo>
                    <a:pt x="292" y="210"/>
                  </a:lnTo>
                  <a:lnTo>
                    <a:pt x="363" y="125"/>
                  </a:lnTo>
                  <a:lnTo>
                    <a:pt x="363" y="95"/>
                  </a:lnTo>
                  <a:lnTo>
                    <a:pt x="361" y="83"/>
                  </a:lnTo>
                  <a:lnTo>
                    <a:pt x="355" y="75"/>
                  </a:lnTo>
                  <a:lnTo>
                    <a:pt x="345" y="69"/>
                  </a:lnTo>
                  <a:lnTo>
                    <a:pt x="335" y="66"/>
                  </a:lnTo>
                  <a:lnTo>
                    <a:pt x="86" y="66"/>
                  </a:lnTo>
                  <a:close/>
                  <a:moveTo>
                    <a:pt x="497" y="0"/>
                  </a:moveTo>
                  <a:lnTo>
                    <a:pt x="513" y="4"/>
                  </a:lnTo>
                  <a:lnTo>
                    <a:pt x="527" y="12"/>
                  </a:lnTo>
                  <a:lnTo>
                    <a:pt x="539" y="25"/>
                  </a:lnTo>
                  <a:lnTo>
                    <a:pt x="545" y="41"/>
                  </a:lnTo>
                  <a:lnTo>
                    <a:pt x="546" y="57"/>
                  </a:lnTo>
                  <a:lnTo>
                    <a:pt x="543" y="73"/>
                  </a:lnTo>
                  <a:lnTo>
                    <a:pt x="533" y="87"/>
                  </a:lnTo>
                  <a:lnTo>
                    <a:pt x="421" y="221"/>
                  </a:lnTo>
                  <a:lnTo>
                    <a:pt x="421" y="367"/>
                  </a:lnTo>
                  <a:lnTo>
                    <a:pt x="418" y="390"/>
                  </a:lnTo>
                  <a:lnTo>
                    <a:pt x="409" y="410"/>
                  </a:lnTo>
                  <a:lnTo>
                    <a:pt x="396" y="428"/>
                  </a:lnTo>
                  <a:lnTo>
                    <a:pt x="378" y="441"/>
                  </a:lnTo>
                  <a:lnTo>
                    <a:pt x="357" y="449"/>
                  </a:lnTo>
                  <a:lnTo>
                    <a:pt x="335" y="453"/>
                  </a:lnTo>
                  <a:lnTo>
                    <a:pt x="86" y="453"/>
                  </a:lnTo>
                  <a:lnTo>
                    <a:pt x="63" y="449"/>
                  </a:lnTo>
                  <a:lnTo>
                    <a:pt x="43" y="441"/>
                  </a:lnTo>
                  <a:lnTo>
                    <a:pt x="26" y="428"/>
                  </a:lnTo>
                  <a:lnTo>
                    <a:pt x="12" y="410"/>
                  </a:lnTo>
                  <a:lnTo>
                    <a:pt x="3" y="390"/>
                  </a:lnTo>
                  <a:lnTo>
                    <a:pt x="0" y="367"/>
                  </a:lnTo>
                  <a:lnTo>
                    <a:pt x="0" y="95"/>
                  </a:lnTo>
                  <a:lnTo>
                    <a:pt x="3" y="72"/>
                  </a:lnTo>
                  <a:lnTo>
                    <a:pt x="12" y="52"/>
                  </a:lnTo>
                  <a:lnTo>
                    <a:pt x="26" y="33"/>
                  </a:lnTo>
                  <a:lnTo>
                    <a:pt x="43" y="21"/>
                  </a:lnTo>
                  <a:lnTo>
                    <a:pt x="63" y="12"/>
                  </a:lnTo>
                  <a:lnTo>
                    <a:pt x="86" y="9"/>
                  </a:lnTo>
                  <a:lnTo>
                    <a:pt x="335" y="9"/>
                  </a:lnTo>
                  <a:lnTo>
                    <a:pt x="356" y="11"/>
                  </a:lnTo>
                  <a:lnTo>
                    <a:pt x="375" y="19"/>
                  </a:lnTo>
                  <a:lnTo>
                    <a:pt x="391" y="30"/>
                  </a:lnTo>
                  <a:lnTo>
                    <a:pt x="405" y="45"/>
                  </a:lnTo>
                  <a:lnTo>
                    <a:pt x="415" y="63"/>
                  </a:lnTo>
                  <a:lnTo>
                    <a:pt x="452" y="20"/>
                  </a:lnTo>
                  <a:lnTo>
                    <a:pt x="465" y="8"/>
                  </a:lnTo>
                  <a:lnTo>
                    <a:pt x="480" y="2"/>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93">
              <a:extLst>
                <a:ext uri="{FF2B5EF4-FFF2-40B4-BE49-F238E27FC236}">
                  <a16:creationId xmlns:a16="http://schemas.microsoft.com/office/drawing/2014/main" id="{F97623F3-A1F4-69CF-641C-B5151284B4C4}"/>
                </a:ext>
              </a:extLst>
            </p:cNvPr>
            <p:cNvSpPr>
              <a:spLocks noEditPoints="1"/>
            </p:cNvSpPr>
            <p:nvPr/>
          </p:nvSpPr>
          <p:spPr bwMode="auto">
            <a:xfrm>
              <a:off x="-1041401" y="2859088"/>
              <a:ext cx="96838" cy="82550"/>
            </a:xfrm>
            <a:custGeom>
              <a:avLst/>
              <a:gdLst>
                <a:gd name="T0" fmla="*/ 75 w 546"/>
                <a:gd name="T1" fmla="*/ 80 h 465"/>
                <a:gd name="T2" fmla="*/ 60 w 546"/>
                <a:gd name="T3" fmla="*/ 96 h 465"/>
                <a:gd name="T4" fmla="*/ 58 w 546"/>
                <a:gd name="T5" fmla="*/ 379 h 465"/>
                <a:gd name="T6" fmla="*/ 66 w 546"/>
                <a:gd name="T7" fmla="*/ 399 h 465"/>
                <a:gd name="T8" fmla="*/ 86 w 546"/>
                <a:gd name="T9" fmla="*/ 407 h 465"/>
                <a:gd name="T10" fmla="*/ 345 w 546"/>
                <a:gd name="T11" fmla="*/ 405 h 465"/>
                <a:gd name="T12" fmla="*/ 361 w 546"/>
                <a:gd name="T13" fmla="*/ 390 h 465"/>
                <a:gd name="T14" fmla="*/ 363 w 546"/>
                <a:gd name="T15" fmla="*/ 289 h 465"/>
                <a:gd name="T16" fmla="*/ 292 w 546"/>
                <a:gd name="T17" fmla="*/ 370 h 465"/>
                <a:gd name="T18" fmla="*/ 265 w 546"/>
                <a:gd name="T19" fmla="*/ 380 h 465"/>
                <a:gd name="T20" fmla="*/ 249 w 546"/>
                <a:gd name="T21" fmla="*/ 378 h 465"/>
                <a:gd name="T22" fmla="*/ 225 w 546"/>
                <a:gd name="T23" fmla="*/ 366 h 465"/>
                <a:gd name="T24" fmla="*/ 91 w 546"/>
                <a:gd name="T25" fmla="*/ 237 h 465"/>
                <a:gd name="T26" fmla="*/ 84 w 546"/>
                <a:gd name="T27" fmla="*/ 205 h 465"/>
                <a:gd name="T28" fmla="*/ 98 w 546"/>
                <a:gd name="T29" fmla="*/ 176 h 465"/>
                <a:gd name="T30" fmla="*/ 127 w 546"/>
                <a:gd name="T31" fmla="*/ 160 h 465"/>
                <a:gd name="T32" fmla="*/ 159 w 546"/>
                <a:gd name="T33" fmla="*/ 164 h 465"/>
                <a:gd name="T34" fmla="*/ 218 w 546"/>
                <a:gd name="T35" fmla="*/ 214 h 465"/>
                <a:gd name="T36" fmla="*/ 248 w 546"/>
                <a:gd name="T37" fmla="*/ 228 h 465"/>
                <a:gd name="T38" fmla="*/ 279 w 546"/>
                <a:gd name="T39" fmla="*/ 220 h 465"/>
                <a:gd name="T40" fmla="*/ 363 w 546"/>
                <a:gd name="T41" fmla="*/ 123 h 465"/>
                <a:gd name="T42" fmla="*/ 361 w 546"/>
                <a:gd name="T43" fmla="*/ 96 h 465"/>
                <a:gd name="T44" fmla="*/ 345 w 546"/>
                <a:gd name="T45" fmla="*/ 80 h 465"/>
                <a:gd name="T46" fmla="*/ 86 w 546"/>
                <a:gd name="T47" fmla="*/ 78 h 465"/>
                <a:gd name="T48" fmla="*/ 513 w 546"/>
                <a:gd name="T49" fmla="*/ 3 h 465"/>
                <a:gd name="T50" fmla="*/ 539 w 546"/>
                <a:gd name="T51" fmla="*/ 25 h 465"/>
                <a:gd name="T52" fmla="*/ 546 w 546"/>
                <a:gd name="T53" fmla="*/ 55 h 465"/>
                <a:gd name="T54" fmla="*/ 533 w 546"/>
                <a:gd name="T55" fmla="*/ 86 h 465"/>
                <a:gd name="T56" fmla="*/ 421 w 546"/>
                <a:gd name="T57" fmla="*/ 379 h 465"/>
                <a:gd name="T58" fmla="*/ 409 w 546"/>
                <a:gd name="T59" fmla="*/ 422 h 465"/>
                <a:gd name="T60" fmla="*/ 378 w 546"/>
                <a:gd name="T61" fmla="*/ 453 h 465"/>
                <a:gd name="T62" fmla="*/ 335 w 546"/>
                <a:gd name="T63" fmla="*/ 465 h 465"/>
                <a:gd name="T64" fmla="*/ 63 w 546"/>
                <a:gd name="T65" fmla="*/ 462 h 465"/>
                <a:gd name="T66" fmla="*/ 26 w 546"/>
                <a:gd name="T67" fmla="*/ 439 h 465"/>
                <a:gd name="T68" fmla="*/ 3 w 546"/>
                <a:gd name="T69" fmla="*/ 402 h 465"/>
                <a:gd name="T70" fmla="*/ 0 w 546"/>
                <a:gd name="T71" fmla="*/ 106 h 465"/>
                <a:gd name="T72" fmla="*/ 12 w 546"/>
                <a:gd name="T73" fmla="*/ 63 h 465"/>
                <a:gd name="T74" fmla="*/ 43 w 546"/>
                <a:gd name="T75" fmla="*/ 32 h 465"/>
                <a:gd name="T76" fmla="*/ 86 w 546"/>
                <a:gd name="T77" fmla="*/ 20 h 465"/>
                <a:gd name="T78" fmla="*/ 354 w 546"/>
                <a:gd name="T79" fmla="*/ 22 h 465"/>
                <a:gd name="T80" fmla="*/ 387 w 546"/>
                <a:gd name="T81" fmla="*/ 39 h 465"/>
                <a:gd name="T82" fmla="*/ 410 w 546"/>
                <a:gd name="T83" fmla="*/ 67 h 465"/>
                <a:gd name="T84" fmla="*/ 465 w 546"/>
                <a:gd name="T85" fmla="*/ 7 h 465"/>
                <a:gd name="T86" fmla="*/ 497 w 546"/>
                <a:gd name="T87"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65">
                  <a:moveTo>
                    <a:pt x="86" y="78"/>
                  </a:moveTo>
                  <a:lnTo>
                    <a:pt x="75" y="80"/>
                  </a:lnTo>
                  <a:lnTo>
                    <a:pt x="66" y="86"/>
                  </a:lnTo>
                  <a:lnTo>
                    <a:pt x="60" y="96"/>
                  </a:lnTo>
                  <a:lnTo>
                    <a:pt x="58" y="106"/>
                  </a:lnTo>
                  <a:lnTo>
                    <a:pt x="58" y="379"/>
                  </a:lnTo>
                  <a:lnTo>
                    <a:pt x="60" y="390"/>
                  </a:lnTo>
                  <a:lnTo>
                    <a:pt x="66" y="399"/>
                  </a:lnTo>
                  <a:lnTo>
                    <a:pt x="75" y="405"/>
                  </a:lnTo>
                  <a:lnTo>
                    <a:pt x="86" y="407"/>
                  </a:lnTo>
                  <a:lnTo>
                    <a:pt x="335" y="407"/>
                  </a:lnTo>
                  <a:lnTo>
                    <a:pt x="345" y="405"/>
                  </a:lnTo>
                  <a:lnTo>
                    <a:pt x="355" y="399"/>
                  </a:lnTo>
                  <a:lnTo>
                    <a:pt x="361" y="390"/>
                  </a:lnTo>
                  <a:lnTo>
                    <a:pt x="363" y="379"/>
                  </a:lnTo>
                  <a:lnTo>
                    <a:pt x="363" y="289"/>
                  </a:lnTo>
                  <a:lnTo>
                    <a:pt x="302" y="361"/>
                  </a:lnTo>
                  <a:lnTo>
                    <a:pt x="292" y="370"/>
                  </a:lnTo>
                  <a:lnTo>
                    <a:pt x="279" y="377"/>
                  </a:lnTo>
                  <a:lnTo>
                    <a:pt x="265" y="380"/>
                  </a:lnTo>
                  <a:lnTo>
                    <a:pt x="262" y="380"/>
                  </a:lnTo>
                  <a:lnTo>
                    <a:pt x="249" y="378"/>
                  </a:lnTo>
                  <a:lnTo>
                    <a:pt x="236" y="373"/>
                  </a:lnTo>
                  <a:lnTo>
                    <a:pt x="225" y="366"/>
                  </a:lnTo>
                  <a:lnTo>
                    <a:pt x="101" y="251"/>
                  </a:lnTo>
                  <a:lnTo>
                    <a:pt x="91" y="237"/>
                  </a:lnTo>
                  <a:lnTo>
                    <a:pt x="85" y="221"/>
                  </a:lnTo>
                  <a:lnTo>
                    <a:pt x="84" y="205"/>
                  </a:lnTo>
                  <a:lnTo>
                    <a:pt x="89" y="189"/>
                  </a:lnTo>
                  <a:lnTo>
                    <a:pt x="98" y="176"/>
                  </a:lnTo>
                  <a:lnTo>
                    <a:pt x="112" y="165"/>
                  </a:lnTo>
                  <a:lnTo>
                    <a:pt x="127" y="160"/>
                  </a:lnTo>
                  <a:lnTo>
                    <a:pt x="143" y="159"/>
                  </a:lnTo>
                  <a:lnTo>
                    <a:pt x="159" y="164"/>
                  </a:lnTo>
                  <a:lnTo>
                    <a:pt x="173" y="173"/>
                  </a:lnTo>
                  <a:lnTo>
                    <a:pt x="218" y="214"/>
                  </a:lnTo>
                  <a:lnTo>
                    <a:pt x="232" y="223"/>
                  </a:lnTo>
                  <a:lnTo>
                    <a:pt x="248" y="228"/>
                  </a:lnTo>
                  <a:lnTo>
                    <a:pt x="264" y="227"/>
                  </a:lnTo>
                  <a:lnTo>
                    <a:pt x="279" y="220"/>
                  </a:lnTo>
                  <a:lnTo>
                    <a:pt x="292" y="210"/>
                  </a:lnTo>
                  <a:lnTo>
                    <a:pt x="363" y="123"/>
                  </a:lnTo>
                  <a:lnTo>
                    <a:pt x="363" y="106"/>
                  </a:lnTo>
                  <a:lnTo>
                    <a:pt x="361" y="96"/>
                  </a:lnTo>
                  <a:lnTo>
                    <a:pt x="355" y="86"/>
                  </a:lnTo>
                  <a:lnTo>
                    <a:pt x="345" y="80"/>
                  </a:lnTo>
                  <a:lnTo>
                    <a:pt x="335" y="78"/>
                  </a:lnTo>
                  <a:lnTo>
                    <a:pt x="86" y="78"/>
                  </a:lnTo>
                  <a:close/>
                  <a:moveTo>
                    <a:pt x="497" y="0"/>
                  </a:moveTo>
                  <a:lnTo>
                    <a:pt x="513" y="3"/>
                  </a:lnTo>
                  <a:lnTo>
                    <a:pt x="527" y="12"/>
                  </a:lnTo>
                  <a:lnTo>
                    <a:pt x="539" y="25"/>
                  </a:lnTo>
                  <a:lnTo>
                    <a:pt x="545" y="39"/>
                  </a:lnTo>
                  <a:lnTo>
                    <a:pt x="546" y="55"/>
                  </a:lnTo>
                  <a:lnTo>
                    <a:pt x="543" y="72"/>
                  </a:lnTo>
                  <a:lnTo>
                    <a:pt x="533" y="86"/>
                  </a:lnTo>
                  <a:lnTo>
                    <a:pt x="421" y="221"/>
                  </a:lnTo>
                  <a:lnTo>
                    <a:pt x="421" y="379"/>
                  </a:lnTo>
                  <a:lnTo>
                    <a:pt x="418" y="402"/>
                  </a:lnTo>
                  <a:lnTo>
                    <a:pt x="409" y="422"/>
                  </a:lnTo>
                  <a:lnTo>
                    <a:pt x="396" y="439"/>
                  </a:lnTo>
                  <a:lnTo>
                    <a:pt x="378" y="453"/>
                  </a:lnTo>
                  <a:lnTo>
                    <a:pt x="357" y="462"/>
                  </a:lnTo>
                  <a:lnTo>
                    <a:pt x="335" y="465"/>
                  </a:lnTo>
                  <a:lnTo>
                    <a:pt x="86" y="465"/>
                  </a:lnTo>
                  <a:lnTo>
                    <a:pt x="63" y="462"/>
                  </a:lnTo>
                  <a:lnTo>
                    <a:pt x="43" y="453"/>
                  </a:lnTo>
                  <a:lnTo>
                    <a:pt x="26" y="439"/>
                  </a:lnTo>
                  <a:lnTo>
                    <a:pt x="12" y="422"/>
                  </a:lnTo>
                  <a:lnTo>
                    <a:pt x="3" y="402"/>
                  </a:lnTo>
                  <a:lnTo>
                    <a:pt x="0" y="379"/>
                  </a:lnTo>
                  <a:lnTo>
                    <a:pt x="0" y="106"/>
                  </a:lnTo>
                  <a:lnTo>
                    <a:pt x="3" y="84"/>
                  </a:lnTo>
                  <a:lnTo>
                    <a:pt x="12" y="63"/>
                  </a:lnTo>
                  <a:lnTo>
                    <a:pt x="26" y="46"/>
                  </a:lnTo>
                  <a:lnTo>
                    <a:pt x="43" y="32"/>
                  </a:lnTo>
                  <a:lnTo>
                    <a:pt x="63" y="23"/>
                  </a:lnTo>
                  <a:lnTo>
                    <a:pt x="86" y="20"/>
                  </a:lnTo>
                  <a:lnTo>
                    <a:pt x="335" y="20"/>
                  </a:lnTo>
                  <a:lnTo>
                    <a:pt x="354" y="22"/>
                  </a:lnTo>
                  <a:lnTo>
                    <a:pt x="372" y="29"/>
                  </a:lnTo>
                  <a:lnTo>
                    <a:pt x="387" y="39"/>
                  </a:lnTo>
                  <a:lnTo>
                    <a:pt x="401" y="52"/>
                  </a:lnTo>
                  <a:lnTo>
                    <a:pt x="410" y="67"/>
                  </a:lnTo>
                  <a:lnTo>
                    <a:pt x="452" y="18"/>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94">
              <a:extLst>
                <a:ext uri="{FF2B5EF4-FFF2-40B4-BE49-F238E27FC236}">
                  <a16:creationId xmlns:a16="http://schemas.microsoft.com/office/drawing/2014/main" id="{D8255CCD-64E8-F198-9813-926688284943}"/>
                </a:ext>
              </a:extLst>
            </p:cNvPr>
            <p:cNvSpPr>
              <a:spLocks noEditPoints="1"/>
            </p:cNvSpPr>
            <p:nvPr/>
          </p:nvSpPr>
          <p:spPr bwMode="auto">
            <a:xfrm>
              <a:off x="-1041401" y="2962275"/>
              <a:ext cx="96838" cy="82550"/>
            </a:xfrm>
            <a:custGeom>
              <a:avLst/>
              <a:gdLst>
                <a:gd name="T0" fmla="*/ 75 w 546"/>
                <a:gd name="T1" fmla="*/ 85 h 470"/>
                <a:gd name="T2" fmla="*/ 60 w 546"/>
                <a:gd name="T3" fmla="*/ 101 h 470"/>
                <a:gd name="T4" fmla="*/ 58 w 546"/>
                <a:gd name="T5" fmla="*/ 384 h 470"/>
                <a:gd name="T6" fmla="*/ 66 w 546"/>
                <a:gd name="T7" fmla="*/ 404 h 470"/>
                <a:gd name="T8" fmla="*/ 86 w 546"/>
                <a:gd name="T9" fmla="*/ 412 h 470"/>
                <a:gd name="T10" fmla="*/ 345 w 546"/>
                <a:gd name="T11" fmla="*/ 410 h 470"/>
                <a:gd name="T12" fmla="*/ 361 w 546"/>
                <a:gd name="T13" fmla="*/ 395 h 470"/>
                <a:gd name="T14" fmla="*/ 363 w 546"/>
                <a:gd name="T15" fmla="*/ 289 h 470"/>
                <a:gd name="T16" fmla="*/ 292 w 546"/>
                <a:gd name="T17" fmla="*/ 371 h 470"/>
                <a:gd name="T18" fmla="*/ 265 w 546"/>
                <a:gd name="T19" fmla="*/ 379 h 470"/>
                <a:gd name="T20" fmla="*/ 262 w 546"/>
                <a:gd name="T21" fmla="*/ 381 h 470"/>
                <a:gd name="T22" fmla="*/ 236 w 546"/>
                <a:gd name="T23" fmla="*/ 373 h 470"/>
                <a:gd name="T24" fmla="*/ 101 w 546"/>
                <a:gd name="T25" fmla="*/ 251 h 470"/>
                <a:gd name="T26" fmla="*/ 85 w 546"/>
                <a:gd name="T27" fmla="*/ 222 h 470"/>
                <a:gd name="T28" fmla="*/ 89 w 546"/>
                <a:gd name="T29" fmla="*/ 190 h 470"/>
                <a:gd name="T30" fmla="*/ 112 w 546"/>
                <a:gd name="T31" fmla="*/ 166 h 470"/>
                <a:gd name="T32" fmla="*/ 143 w 546"/>
                <a:gd name="T33" fmla="*/ 159 h 470"/>
                <a:gd name="T34" fmla="*/ 173 w 546"/>
                <a:gd name="T35" fmla="*/ 173 h 470"/>
                <a:gd name="T36" fmla="*/ 232 w 546"/>
                <a:gd name="T37" fmla="*/ 223 h 470"/>
                <a:gd name="T38" fmla="*/ 264 w 546"/>
                <a:gd name="T39" fmla="*/ 226 h 470"/>
                <a:gd name="T40" fmla="*/ 292 w 546"/>
                <a:gd name="T41" fmla="*/ 209 h 470"/>
                <a:gd name="T42" fmla="*/ 363 w 546"/>
                <a:gd name="T43" fmla="*/ 111 h 470"/>
                <a:gd name="T44" fmla="*/ 355 w 546"/>
                <a:gd name="T45" fmla="*/ 91 h 470"/>
                <a:gd name="T46" fmla="*/ 335 w 546"/>
                <a:gd name="T47" fmla="*/ 83 h 470"/>
                <a:gd name="T48" fmla="*/ 497 w 546"/>
                <a:gd name="T49" fmla="*/ 0 h 470"/>
                <a:gd name="T50" fmla="*/ 527 w 546"/>
                <a:gd name="T51" fmla="*/ 11 h 470"/>
                <a:gd name="T52" fmla="*/ 545 w 546"/>
                <a:gd name="T53" fmla="*/ 40 h 470"/>
                <a:gd name="T54" fmla="*/ 543 w 546"/>
                <a:gd name="T55" fmla="*/ 72 h 470"/>
                <a:gd name="T56" fmla="*/ 421 w 546"/>
                <a:gd name="T57" fmla="*/ 221 h 470"/>
                <a:gd name="T58" fmla="*/ 418 w 546"/>
                <a:gd name="T59" fmla="*/ 406 h 470"/>
                <a:gd name="T60" fmla="*/ 396 w 546"/>
                <a:gd name="T61" fmla="*/ 444 h 470"/>
                <a:gd name="T62" fmla="*/ 357 w 546"/>
                <a:gd name="T63" fmla="*/ 467 h 470"/>
                <a:gd name="T64" fmla="*/ 86 w 546"/>
                <a:gd name="T65" fmla="*/ 470 h 470"/>
                <a:gd name="T66" fmla="*/ 43 w 546"/>
                <a:gd name="T67" fmla="*/ 458 h 470"/>
                <a:gd name="T68" fmla="*/ 12 w 546"/>
                <a:gd name="T69" fmla="*/ 427 h 470"/>
                <a:gd name="T70" fmla="*/ 0 w 546"/>
                <a:gd name="T71" fmla="*/ 384 h 470"/>
                <a:gd name="T72" fmla="*/ 3 w 546"/>
                <a:gd name="T73" fmla="*/ 89 h 470"/>
                <a:gd name="T74" fmla="*/ 26 w 546"/>
                <a:gd name="T75" fmla="*/ 51 h 470"/>
                <a:gd name="T76" fmla="*/ 63 w 546"/>
                <a:gd name="T77" fmla="*/ 28 h 470"/>
                <a:gd name="T78" fmla="*/ 335 w 546"/>
                <a:gd name="T79" fmla="*/ 25 h 470"/>
                <a:gd name="T80" fmla="*/ 378 w 546"/>
                <a:gd name="T81" fmla="*/ 38 h 470"/>
                <a:gd name="T82" fmla="*/ 409 w 546"/>
                <a:gd name="T83" fmla="*/ 70 h 470"/>
                <a:gd name="T84" fmla="*/ 465 w 546"/>
                <a:gd name="T85" fmla="*/ 7 h 470"/>
                <a:gd name="T86" fmla="*/ 497 w 546"/>
                <a:gd name="T8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70">
                  <a:moveTo>
                    <a:pt x="86" y="83"/>
                  </a:moveTo>
                  <a:lnTo>
                    <a:pt x="75" y="85"/>
                  </a:lnTo>
                  <a:lnTo>
                    <a:pt x="66" y="91"/>
                  </a:lnTo>
                  <a:lnTo>
                    <a:pt x="60" y="101"/>
                  </a:lnTo>
                  <a:lnTo>
                    <a:pt x="58" y="111"/>
                  </a:lnTo>
                  <a:lnTo>
                    <a:pt x="58" y="384"/>
                  </a:lnTo>
                  <a:lnTo>
                    <a:pt x="60" y="395"/>
                  </a:lnTo>
                  <a:lnTo>
                    <a:pt x="66" y="404"/>
                  </a:lnTo>
                  <a:lnTo>
                    <a:pt x="75" y="410"/>
                  </a:lnTo>
                  <a:lnTo>
                    <a:pt x="86" y="412"/>
                  </a:lnTo>
                  <a:lnTo>
                    <a:pt x="335" y="412"/>
                  </a:lnTo>
                  <a:lnTo>
                    <a:pt x="345" y="410"/>
                  </a:lnTo>
                  <a:lnTo>
                    <a:pt x="355" y="404"/>
                  </a:lnTo>
                  <a:lnTo>
                    <a:pt x="361" y="395"/>
                  </a:lnTo>
                  <a:lnTo>
                    <a:pt x="363" y="384"/>
                  </a:lnTo>
                  <a:lnTo>
                    <a:pt x="363" y="289"/>
                  </a:lnTo>
                  <a:lnTo>
                    <a:pt x="302" y="361"/>
                  </a:lnTo>
                  <a:lnTo>
                    <a:pt x="292" y="371"/>
                  </a:lnTo>
                  <a:lnTo>
                    <a:pt x="279" y="377"/>
                  </a:lnTo>
                  <a:lnTo>
                    <a:pt x="265" y="379"/>
                  </a:lnTo>
                  <a:lnTo>
                    <a:pt x="264" y="379"/>
                  </a:lnTo>
                  <a:lnTo>
                    <a:pt x="262" y="381"/>
                  </a:lnTo>
                  <a:lnTo>
                    <a:pt x="249" y="378"/>
                  </a:lnTo>
                  <a:lnTo>
                    <a:pt x="236" y="373"/>
                  </a:lnTo>
                  <a:lnTo>
                    <a:pt x="225" y="366"/>
                  </a:lnTo>
                  <a:lnTo>
                    <a:pt x="101" y="251"/>
                  </a:lnTo>
                  <a:lnTo>
                    <a:pt x="91" y="237"/>
                  </a:lnTo>
                  <a:lnTo>
                    <a:pt x="85" y="222"/>
                  </a:lnTo>
                  <a:lnTo>
                    <a:pt x="84" y="206"/>
                  </a:lnTo>
                  <a:lnTo>
                    <a:pt x="89" y="190"/>
                  </a:lnTo>
                  <a:lnTo>
                    <a:pt x="98" y="176"/>
                  </a:lnTo>
                  <a:lnTo>
                    <a:pt x="112" y="166"/>
                  </a:lnTo>
                  <a:lnTo>
                    <a:pt x="127" y="159"/>
                  </a:lnTo>
                  <a:lnTo>
                    <a:pt x="143" y="159"/>
                  </a:lnTo>
                  <a:lnTo>
                    <a:pt x="159" y="164"/>
                  </a:lnTo>
                  <a:lnTo>
                    <a:pt x="173" y="173"/>
                  </a:lnTo>
                  <a:lnTo>
                    <a:pt x="218" y="214"/>
                  </a:lnTo>
                  <a:lnTo>
                    <a:pt x="232" y="223"/>
                  </a:lnTo>
                  <a:lnTo>
                    <a:pt x="248" y="227"/>
                  </a:lnTo>
                  <a:lnTo>
                    <a:pt x="264" y="226"/>
                  </a:lnTo>
                  <a:lnTo>
                    <a:pt x="279" y="220"/>
                  </a:lnTo>
                  <a:lnTo>
                    <a:pt x="292" y="209"/>
                  </a:lnTo>
                  <a:lnTo>
                    <a:pt x="363" y="124"/>
                  </a:lnTo>
                  <a:lnTo>
                    <a:pt x="363" y="111"/>
                  </a:lnTo>
                  <a:lnTo>
                    <a:pt x="361" y="101"/>
                  </a:lnTo>
                  <a:lnTo>
                    <a:pt x="355" y="91"/>
                  </a:lnTo>
                  <a:lnTo>
                    <a:pt x="345" y="85"/>
                  </a:lnTo>
                  <a:lnTo>
                    <a:pt x="335" y="83"/>
                  </a:lnTo>
                  <a:lnTo>
                    <a:pt x="86" y="83"/>
                  </a:lnTo>
                  <a:close/>
                  <a:moveTo>
                    <a:pt x="497" y="0"/>
                  </a:moveTo>
                  <a:lnTo>
                    <a:pt x="513" y="3"/>
                  </a:lnTo>
                  <a:lnTo>
                    <a:pt x="527" y="11"/>
                  </a:lnTo>
                  <a:lnTo>
                    <a:pt x="539" y="24"/>
                  </a:lnTo>
                  <a:lnTo>
                    <a:pt x="545" y="40"/>
                  </a:lnTo>
                  <a:lnTo>
                    <a:pt x="546" y="56"/>
                  </a:lnTo>
                  <a:lnTo>
                    <a:pt x="543" y="72"/>
                  </a:lnTo>
                  <a:lnTo>
                    <a:pt x="533" y="87"/>
                  </a:lnTo>
                  <a:lnTo>
                    <a:pt x="421" y="221"/>
                  </a:lnTo>
                  <a:lnTo>
                    <a:pt x="421" y="384"/>
                  </a:lnTo>
                  <a:lnTo>
                    <a:pt x="418" y="406"/>
                  </a:lnTo>
                  <a:lnTo>
                    <a:pt x="409" y="427"/>
                  </a:lnTo>
                  <a:lnTo>
                    <a:pt x="396" y="444"/>
                  </a:lnTo>
                  <a:lnTo>
                    <a:pt x="378" y="458"/>
                  </a:lnTo>
                  <a:lnTo>
                    <a:pt x="357" y="467"/>
                  </a:lnTo>
                  <a:lnTo>
                    <a:pt x="335" y="470"/>
                  </a:lnTo>
                  <a:lnTo>
                    <a:pt x="86" y="470"/>
                  </a:lnTo>
                  <a:lnTo>
                    <a:pt x="63" y="467"/>
                  </a:lnTo>
                  <a:lnTo>
                    <a:pt x="43" y="458"/>
                  </a:lnTo>
                  <a:lnTo>
                    <a:pt x="26" y="444"/>
                  </a:lnTo>
                  <a:lnTo>
                    <a:pt x="12" y="427"/>
                  </a:lnTo>
                  <a:lnTo>
                    <a:pt x="3" y="406"/>
                  </a:lnTo>
                  <a:lnTo>
                    <a:pt x="0" y="384"/>
                  </a:lnTo>
                  <a:lnTo>
                    <a:pt x="0" y="111"/>
                  </a:lnTo>
                  <a:lnTo>
                    <a:pt x="3" y="89"/>
                  </a:lnTo>
                  <a:lnTo>
                    <a:pt x="12" y="68"/>
                  </a:lnTo>
                  <a:lnTo>
                    <a:pt x="26" y="51"/>
                  </a:lnTo>
                  <a:lnTo>
                    <a:pt x="43" y="37"/>
                  </a:lnTo>
                  <a:lnTo>
                    <a:pt x="63" y="28"/>
                  </a:lnTo>
                  <a:lnTo>
                    <a:pt x="86" y="25"/>
                  </a:lnTo>
                  <a:lnTo>
                    <a:pt x="335" y="25"/>
                  </a:lnTo>
                  <a:lnTo>
                    <a:pt x="358" y="28"/>
                  </a:lnTo>
                  <a:lnTo>
                    <a:pt x="378" y="38"/>
                  </a:lnTo>
                  <a:lnTo>
                    <a:pt x="396" y="52"/>
                  </a:lnTo>
                  <a:lnTo>
                    <a:pt x="409" y="70"/>
                  </a:lnTo>
                  <a:lnTo>
                    <a:pt x="452" y="19"/>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95">
              <a:extLst>
                <a:ext uri="{FF2B5EF4-FFF2-40B4-BE49-F238E27FC236}">
                  <a16:creationId xmlns:a16="http://schemas.microsoft.com/office/drawing/2014/main" id="{FD45AE1D-242C-8E44-AF54-FE40F7D3E348}"/>
                </a:ext>
              </a:extLst>
            </p:cNvPr>
            <p:cNvSpPr>
              <a:spLocks/>
            </p:cNvSpPr>
            <p:nvPr/>
          </p:nvSpPr>
          <p:spPr bwMode="auto">
            <a:xfrm>
              <a:off x="-919163" y="2792413"/>
              <a:ext cx="169863" cy="17463"/>
            </a:xfrm>
            <a:custGeom>
              <a:avLst/>
              <a:gdLst>
                <a:gd name="T0" fmla="*/ 53 w 969"/>
                <a:gd name="T1" fmla="*/ 0 h 106"/>
                <a:gd name="T2" fmla="*/ 916 w 969"/>
                <a:gd name="T3" fmla="*/ 0 h 106"/>
                <a:gd name="T4" fmla="*/ 933 w 969"/>
                <a:gd name="T5" fmla="*/ 3 h 106"/>
                <a:gd name="T6" fmla="*/ 947 w 969"/>
                <a:gd name="T7" fmla="*/ 11 h 106"/>
                <a:gd name="T8" fmla="*/ 959 w 969"/>
                <a:gd name="T9" fmla="*/ 22 h 106"/>
                <a:gd name="T10" fmla="*/ 966 w 969"/>
                <a:gd name="T11" fmla="*/ 37 h 106"/>
                <a:gd name="T12" fmla="*/ 969 w 969"/>
                <a:gd name="T13" fmla="*/ 54 h 106"/>
                <a:gd name="T14" fmla="*/ 966 w 969"/>
                <a:gd name="T15" fmla="*/ 70 h 106"/>
                <a:gd name="T16" fmla="*/ 959 w 969"/>
                <a:gd name="T17" fmla="*/ 85 h 106"/>
                <a:gd name="T18" fmla="*/ 947 w 969"/>
                <a:gd name="T19" fmla="*/ 97 h 106"/>
                <a:gd name="T20" fmla="*/ 933 w 969"/>
                <a:gd name="T21" fmla="*/ 104 h 106"/>
                <a:gd name="T22" fmla="*/ 916 w 969"/>
                <a:gd name="T23" fmla="*/ 106 h 106"/>
                <a:gd name="T24" fmla="*/ 53 w 969"/>
                <a:gd name="T25" fmla="*/ 106 h 106"/>
                <a:gd name="T26" fmla="*/ 36 w 969"/>
                <a:gd name="T27" fmla="*/ 104 h 106"/>
                <a:gd name="T28" fmla="*/ 22 w 969"/>
                <a:gd name="T29" fmla="*/ 97 h 106"/>
                <a:gd name="T30" fmla="*/ 10 w 969"/>
                <a:gd name="T31" fmla="*/ 85 h 106"/>
                <a:gd name="T32" fmla="*/ 3 w 969"/>
                <a:gd name="T33" fmla="*/ 70 h 106"/>
                <a:gd name="T34" fmla="*/ 0 w 969"/>
                <a:gd name="T35" fmla="*/ 54 h 106"/>
                <a:gd name="T36" fmla="*/ 3 w 969"/>
                <a:gd name="T37" fmla="*/ 37 h 106"/>
                <a:gd name="T38" fmla="*/ 10 w 969"/>
                <a:gd name="T39" fmla="*/ 22 h 106"/>
                <a:gd name="T40" fmla="*/ 22 w 969"/>
                <a:gd name="T41" fmla="*/ 11 h 106"/>
                <a:gd name="T42" fmla="*/ 36 w 969"/>
                <a:gd name="T43" fmla="*/ 3 h 106"/>
                <a:gd name="T44" fmla="*/ 53 w 96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6">
                  <a:moveTo>
                    <a:pt x="53" y="0"/>
                  </a:moveTo>
                  <a:lnTo>
                    <a:pt x="916" y="0"/>
                  </a:lnTo>
                  <a:lnTo>
                    <a:pt x="933" y="3"/>
                  </a:lnTo>
                  <a:lnTo>
                    <a:pt x="947" y="11"/>
                  </a:lnTo>
                  <a:lnTo>
                    <a:pt x="959" y="22"/>
                  </a:lnTo>
                  <a:lnTo>
                    <a:pt x="966" y="37"/>
                  </a:lnTo>
                  <a:lnTo>
                    <a:pt x="969" y="54"/>
                  </a:lnTo>
                  <a:lnTo>
                    <a:pt x="966" y="70"/>
                  </a:lnTo>
                  <a:lnTo>
                    <a:pt x="959" y="85"/>
                  </a:lnTo>
                  <a:lnTo>
                    <a:pt x="947" y="97"/>
                  </a:lnTo>
                  <a:lnTo>
                    <a:pt x="933" y="104"/>
                  </a:lnTo>
                  <a:lnTo>
                    <a:pt x="916" y="106"/>
                  </a:lnTo>
                  <a:lnTo>
                    <a:pt x="53" y="106"/>
                  </a:lnTo>
                  <a:lnTo>
                    <a:pt x="36" y="104"/>
                  </a:lnTo>
                  <a:lnTo>
                    <a:pt x="22" y="97"/>
                  </a:lnTo>
                  <a:lnTo>
                    <a:pt x="10" y="85"/>
                  </a:lnTo>
                  <a:lnTo>
                    <a:pt x="3" y="70"/>
                  </a:lnTo>
                  <a:lnTo>
                    <a:pt x="0" y="54"/>
                  </a:lnTo>
                  <a:lnTo>
                    <a:pt x="3" y="37"/>
                  </a:lnTo>
                  <a:lnTo>
                    <a:pt x="10" y="22"/>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96">
              <a:extLst>
                <a:ext uri="{FF2B5EF4-FFF2-40B4-BE49-F238E27FC236}">
                  <a16:creationId xmlns:a16="http://schemas.microsoft.com/office/drawing/2014/main" id="{CD6B6BDE-0AD2-B7FF-B4CC-004114C3C95C}"/>
                </a:ext>
              </a:extLst>
            </p:cNvPr>
            <p:cNvSpPr>
              <a:spLocks/>
            </p:cNvSpPr>
            <p:nvPr/>
          </p:nvSpPr>
          <p:spPr bwMode="auto">
            <a:xfrm>
              <a:off x="-919163" y="2882900"/>
              <a:ext cx="169863" cy="19050"/>
            </a:xfrm>
            <a:custGeom>
              <a:avLst/>
              <a:gdLst>
                <a:gd name="T0" fmla="*/ 53 w 969"/>
                <a:gd name="T1" fmla="*/ 0 h 107"/>
                <a:gd name="T2" fmla="*/ 916 w 969"/>
                <a:gd name="T3" fmla="*/ 0 h 107"/>
                <a:gd name="T4" fmla="*/ 933 w 969"/>
                <a:gd name="T5" fmla="*/ 3 h 107"/>
                <a:gd name="T6" fmla="*/ 947 w 969"/>
                <a:gd name="T7" fmla="*/ 11 h 107"/>
                <a:gd name="T8" fmla="*/ 959 w 969"/>
                <a:gd name="T9" fmla="*/ 23 h 107"/>
                <a:gd name="T10" fmla="*/ 966 w 969"/>
                <a:gd name="T11" fmla="*/ 36 h 107"/>
                <a:gd name="T12" fmla="*/ 969 w 969"/>
                <a:gd name="T13" fmla="*/ 53 h 107"/>
                <a:gd name="T14" fmla="*/ 966 w 969"/>
                <a:gd name="T15" fmla="*/ 70 h 107"/>
                <a:gd name="T16" fmla="*/ 959 w 969"/>
                <a:gd name="T17" fmla="*/ 85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5 h 107"/>
                <a:gd name="T32" fmla="*/ 3 w 969"/>
                <a:gd name="T33" fmla="*/ 70 h 107"/>
                <a:gd name="T34" fmla="*/ 0 w 969"/>
                <a:gd name="T35" fmla="*/ 53 h 107"/>
                <a:gd name="T36" fmla="*/ 3 w 969"/>
                <a:gd name="T37" fmla="*/ 36 h 107"/>
                <a:gd name="T38" fmla="*/ 10 w 969"/>
                <a:gd name="T39" fmla="*/ 23 h 107"/>
                <a:gd name="T40" fmla="*/ 22 w 969"/>
                <a:gd name="T41" fmla="*/ 11 h 107"/>
                <a:gd name="T42" fmla="*/ 36 w 969"/>
                <a:gd name="T43" fmla="*/ 3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3"/>
                  </a:lnTo>
                  <a:lnTo>
                    <a:pt x="947" y="11"/>
                  </a:lnTo>
                  <a:lnTo>
                    <a:pt x="959" y="23"/>
                  </a:lnTo>
                  <a:lnTo>
                    <a:pt x="966" y="36"/>
                  </a:lnTo>
                  <a:lnTo>
                    <a:pt x="969" y="53"/>
                  </a:lnTo>
                  <a:lnTo>
                    <a:pt x="966" y="70"/>
                  </a:lnTo>
                  <a:lnTo>
                    <a:pt x="959" y="85"/>
                  </a:lnTo>
                  <a:lnTo>
                    <a:pt x="947" y="96"/>
                  </a:lnTo>
                  <a:lnTo>
                    <a:pt x="933" y="103"/>
                  </a:lnTo>
                  <a:lnTo>
                    <a:pt x="916" y="107"/>
                  </a:lnTo>
                  <a:lnTo>
                    <a:pt x="53" y="107"/>
                  </a:lnTo>
                  <a:lnTo>
                    <a:pt x="36" y="103"/>
                  </a:lnTo>
                  <a:lnTo>
                    <a:pt x="22" y="96"/>
                  </a:lnTo>
                  <a:lnTo>
                    <a:pt x="10" y="85"/>
                  </a:lnTo>
                  <a:lnTo>
                    <a:pt x="3" y="70"/>
                  </a:lnTo>
                  <a:lnTo>
                    <a:pt x="0" y="53"/>
                  </a:lnTo>
                  <a:lnTo>
                    <a:pt x="3" y="36"/>
                  </a:lnTo>
                  <a:lnTo>
                    <a:pt x="10" y="23"/>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97">
              <a:extLst>
                <a:ext uri="{FF2B5EF4-FFF2-40B4-BE49-F238E27FC236}">
                  <a16:creationId xmlns:a16="http://schemas.microsoft.com/office/drawing/2014/main" id="{B27E7E8A-D7DC-AD9B-F2D3-A342FD12817F}"/>
                </a:ext>
              </a:extLst>
            </p:cNvPr>
            <p:cNvSpPr>
              <a:spLocks/>
            </p:cNvSpPr>
            <p:nvPr/>
          </p:nvSpPr>
          <p:spPr bwMode="auto">
            <a:xfrm>
              <a:off x="-919163" y="2974975"/>
              <a:ext cx="169863" cy="19050"/>
            </a:xfrm>
            <a:custGeom>
              <a:avLst/>
              <a:gdLst>
                <a:gd name="T0" fmla="*/ 53 w 969"/>
                <a:gd name="T1" fmla="*/ 0 h 107"/>
                <a:gd name="T2" fmla="*/ 916 w 969"/>
                <a:gd name="T3" fmla="*/ 0 h 107"/>
                <a:gd name="T4" fmla="*/ 933 w 969"/>
                <a:gd name="T5" fmla="*/ 2 h 107"/>
                <a:gd name="T6" fmla="*/ 947 w 969"/>
                <a:gd name="T7" fmla="*/ 10 h 107"/>
                <a:gd name="T8" fmla="*/ 959 w 969"/>
                <a:gd name="T9" fmla="*/ 22 h 107"/>
                <a:gd name="T10" fmla="*/ 966 w 969"/>
                <a:gd name="T11" fmla="*/ 36 h 107"/>
                <a:gd name="T12" fmla="*/ 969 w 969"/>
                <a:gd name="T13" fmla="*/ 53 h 107"/>
                <a:gd name="T14" fmla="*/ 966 w 969"/>
                <a:gd name="T15" fmla="*/ 71 h 107"/>
                <a:gd name="T16" fmla="*/ 959 w 969"/>
                <a:gd name="T17" fmla="*/ 84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4 h 107"/>
                <a:gd name="T32" fmla="*/ 3 w 969"/>
                <a:gd name="T33" fmla="*/ 71 h 107"/>
                <a:gd name="T34" fmla="*/ 0 w 969"/>
                <a:gd name="T35" fmla="*/ 53 h 107"/>
                <a:gd name="T36" fmla="*/ 3 w 969"/>
                <a:gd name="T37" fmla="*/ 36 h 107"/>
                <a:gd name="T38" fmla="*/ 10 w 969"/>
                <a:gd name="T39" fmla="*/ 22 h 107"/>
                <a:gd name="T40" fmla="*/ 22 w 969"/>
                <a:gd name="T41" fmla="*/ 10 h 107"/>
                <a:gd name="T42" fmla="*/ 36 w 969"/>
                <a:gd name="T43" fmla="*/ 2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2"/>
                  </a:lnTo>
                  <a:lnTo>
                    <a:pt x="947" y="10"/>
                  </a:lnTo>
                  <a:lnTo>
                    <a:pt x="959" y="22"/>
                  </a:lnTo>
                  <a:lnTo>
                    <a:pt x="966" y="36"/>
                  </a:lnTo>
                  <a:lnTo>
                    <a:pt x="969" y="53"/>
                  </a:lnTo>
                  <a:lnTo>
                    <a:pt x="966" y="71"/>
                  </a:lnTo>
                  <a:lnTo>
                    <a:pt x="959" y="84"/>
                  </a:lnTo>
                  <a:lnTo>
                    <a:pt x="947" y="96"/>
                  </a:lnTo>
                  <a:lnTo>
                    <a:pt x="933" y="103"/>
                  </a:lnTo>
                  <a:lnTo>
                    <a:pt x="916" y="107"/>
                  </a:lnTo>
                  <a:lnTo>
                    <a:pt x="53" y="107"/>
                  </a:lnTo>
                  <a:lnTo>
                    <a:pt x="36" y="103"/>
                  </a:lnTo>
                  <a:lnTo>
                    <a:pt x="22" y="96"/>
                  </a:lnTo>
                  <a:lnTo>
                    <a:pt x="10" y="84"/>
                  </a:lnTo>
                  <a:lnTo>
                    <a:pt x="3" y="71"/>
                  </a:lnTo>
                  <a:lnTo>
                    <a:pt x="0" y="53"/>
                  </a:lnTo>
                  <a:lnTo>
                    <a:pt x="3" y="36"/>
                  </a:lnTo>
                  <a:lnTo>
                    <a:pt x="10" y="22"/>
                  </a:lnTo>
                  <a:lnTo>
                    <a:pt x="22" y="10"/>
                  </a:lnTo>
                  <a:lnTo>
                    <a:pt x="36" y="2"/>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5755E0C4-EA22-ED36-38D7-D1981CA73EA2}"/>
              </a:ext>
            </a:extLst>
          </p:cNvPr>
          <p:cNvGrpSpPr/>
          <p:nvPr/>
        </p:nvGrpSpPr>
        <p:grpSpPr>
          <a:xfrm>
            <a:off x="5453148" y="1682198"/>
            <a:ext cx="420617" cy="431850"/>
            <a:chOff x="-1162050" y="2613025"/>
            <a:chExt cx="684212" cy="701675"/>
          </a:xfrm>
          <a:solidFill>
            <a:schemeClr val="tx1"/>
          </a:solidFill>
        </p:grpSpPr>
        <p:sp>
          <p:nvSpPr>
            <p:cNvPr id="17" name="Freeform 112">
              <a:extLst>
                <a:ext uri="{FF2B5EF4-FFF2-40B4-BE49-F238E27FC236}">
                  <a16:creationId xmlns:a16="http://schemas.microsoft.com/office/drawing/2014/main" id="{BEE74EE8-794F-1F8D-E084-2AB97A6F086A}"/>
                </a:ext>
              </a:extLst>
            </p:cNvPr>
            <p:cNvSpPr>
              <a:spLocks/>
            </p:cNvSpPr>
            <p:nvPr/>
          </p:nvSpPr>
          <p:spPr bwMode="auto">
            <a:xfrm>
              <a:off x="-873125" y="2613025"/>
              <a:ext cx="106362" cy="109538"/>
            </a:xfrm>
            <a:custGeom>
              <a:avLst/>
              <a:gdLst>
                <a:gd name="T0" fmla="*/ 267 w 535"/>
                <a:gd name="T1" fmla="*/ 0 h 479"/>
                <a:gd name="T2" fmla="*/ 267 w 535"/>
                <a:gd name="T3" fmla="*/ 0 h 479"/>
                <a:gd name="T4" fmla="*/ 311 w 535"/>
                <a:gd name="T5" fmla="*/ 3 h 479"/>
                <a:gd name="T6" fmla="*/ 352 w 535"/>
                <a:gd name="T7" fmla="*/ 12 h 479"/>
                <a:gd name="T8" fmla="*/ 390 w 535"/>
                <a:gd name="T9" fmla="*/ 27 h 479"/>
                <a:gd name="T10" fmla="*/ 425 w 535"/>
                <a:gd name="T11" fmla="*/ 47 h 479"/>
                <a:gd name="T12" fmla="*/ 456 w 535"/>
                <a:gd name="T13" fmla="*/ 71 h 479"/>
                <a:gd name="T14" fmla="*/ 483 w 535"/>
                <a:gd name="T15" fmla="*/ 99 h 479"/>
                <a:gd name="T16" fmla="*/ 504 w 535"/>
                <a:gd name="T17" fmla="*/ 130 h 479"/>
                <a:gd name="T18" fmla="*/ 521 w 535"/>
                <a:gd name="T19" fmla="*/ 164 h 479"/>
                <a:gd name="T20" fmla="*/ 531 w 535"/>
                <a:gd name="T21" fmla="*/ 201 h 479"/>
                <a:gd name="T22" fmla="*/ 535 w 535"/>
                <a:gd name="T23" fmla="*/ 240 h 479"/>
                <a:gd name="T24" fmla="*/ 531 w 535"/>
                <a:gd name="T25" fmla="*/ 279 h 479"/>
                <a:gd name="T26" fmla="*/ 521 w 535"/>
                <a:gd name="T27" fmla="*/ 316 h 479"/>
                <a:gd name="T28" fmla="*/ 504 w 535"/>
                <a:gd name="T29" fmla="*/ 350 h 479"/>
                <a:gd name="T30" fmla="*/ 483 w 535"/>
                <a:gd name="T31" fmla="*/ 381 h 479"/>
                <a:gd name="T32" fmla="*/ 456 w 535"/>
                <a:gd name="T33" fmla="*/ 410 h 479"/>
                <a:gd name="T34" fmla="*/ 425 w 535"/>
                <a:gd name="T35" fmla="*/ 433 h 479"/>
                <a:gd name="T36" fmla="*/ 390 w 535"/>
                <a:gd name="T37" fmla="*/ 453 h 479"/>
                <a:gd name="T38" fmla="*/ 352 w 535"/>
                <a:gd name="T39" fmla="*/ 467 h 479"/>
                <a:gd name="T40" fmla="*/ 311 w 535"/>
                <a:gd name="T41" fmla="*/ 476 h 479"/>
                <a:gd name="T42" fmla="*/ 267 w 535"/>
                <a:gd name="T43" fmla="*/ 479 h 479"/>
                <a:gd name="T44" fmla="*/ 224 w 535"/>
                <a:gd name="T45" fmla="*/ 476 h 479"/>
                <a:gd name="T46" fmla="*/ 183 w 535"/>
                <a:gd name="T47" fmla="*/ 467 h 479"/>
                <a:gd name="T48" fmla="*/ 145 w 535"/>
                <a:gd name="T49" fmla="*/ 453 h 479"/>
                <a:gd name="T50" fmla="*/ 110 w 535"/>
                <a:gd name="T51" fmla="*/ 433 h 479"/>
                <a:gd name="T52" fmla="*/ 79 w 535"/>
                <a:gd name="T53" fmla="*/ 410 h 479"/>
                <a:gd name="T54" fmla="*/ 52 w 535"/>
                <a:gd name="T55" fmla="*/ 381 h 479"/>
                <a:gd name="T56" fmla="*/ 30 w 535"/>
                <a:gd name="T57" fmla="*/ 350 h 479"/>
                <a:gd name="T58" fmla="*/ 14 w 535"/>
                <a:gd name="T59" fmla="*/ 316 h 479"/>
                <a:gd name="T60" fmla="*/ 4 w 535"/>
                <a:gd name="T61" fmla="*/ 279 h 479"/>
                <a:gd name="T62" fmla="*/ 0 w 535"/>
                <a:gd name="T63" fmla="*/ 240 h 479"/>
                <a:gd name="T64" fmla="*/ 4 w 535"/>
                <a:gd name="T65" fmla="*/ 201 h 479"/>
                <a:gd name="T66" fmla="*/ 14 w 535"/>
                <a:gd name="T67" fmla="*/ 164 h 479"/>
                <a:gd name="T68" fmla="*/ 30 w 535"/>
                <a:gd name="T69" fmla="*/ 130 h 479"/>
                <a:gd name="T70" fmla="*/ 52 w 535"/>
                <a:gd name="T71" fmla="*/ 99 h 479"/>
                <a:gd name="T72" fmla="*/ 79 w 535"/>
                <a:gd name="T73" fmla="*/ 71 h 479"/>
                <a:gd name="T74" fmla="*/ 110 w 535"/>
                <a:gd name="T75" fmla="*/ 47 h 479"/>
                <a:gd name="T76" fmla="*/ 145 w 535"/>
                <a:gd name="T77" fmla="*/ 27 h 479"/>
                <a:gd name="T78" fmla="*/ 183 w 535"/>
                <a:gd name="T79" fmla="*/ 12 h 479"/>
                <a:gd name="T80" fmla="*/ 224 w 535"/>
                <a:gd name="T81" fmla="*/ 3 h 479"/>
                <a:gd name="T82" fmla="*/ 267 w 535"/>
                <a:gd name="T83"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5" h="479">
                  <a:moveTo>
                    <a:pt x="267" y="0"/>
                  </a:moveTo>
                  <a:lnTo>
                    <a:pt x="267" y="0"/>
                  </a:lnTo>
                  <a:lnTo>
                    <a:pt x="311" y="3"/>
                  </a:lnTo>
                  <a:lnTo>
                    <a:pt x="352" y="12"/>
                  </a:lnTo>
                  <a:lnTo>
                    <a:pt x="390" y="27"/>
                  </a:lnTo>
                  <a:lnTo>
                    <a:pt x="425" y="47"/>
                  </a:lnTo>
                  <a:lnTo>
                    <a:pt x="456" y="71"/>
                  </a:lnTo>
                  <a:lnTo>
                    <a:pt x="483" y="99"/>
                  </a:lnTo>
                  <a:lnTo>
                    <a:pt x="504" y="130"/>
                  </a:lnTo>
                  <a:lnTo>
                    <a:pt x="521" y="164"/>
                  </a:lnTo>
                  <a:lnTo>
                    <a:pt x="531" y="201"/>
                  </a:lnTo>
                  <a:lnTo>
                    <a:pt x="535" y="240"/>
                  </a:lnTo>
                  <a:lnTo>
                    <a:pt x="531" y="279"/>
                  </a:lnTo>
                  <a:lnTo>
                    <a:pt x="521" y="316"/>
                  </a:lnTo>
                  <a:lnTo>
                    <a:pt x="504" y="350"/>
                  </a:lnTo>
                  <a:lnTo>
                    <a:pt x="483" y="381"/>
                  </a:lnTo>
                  <a:lnTo>
                    <a:pt x="456" y="410"/>
                  </a:lnTo>
                  <a:lnTo>
                    <a:pt x="425" y="433"/>
                  </a:lnTo>
                  <a:lnTo>
                    <a:pt x="390" y="453"/>
                  </a:lnTo>
                  <a:lnTo>
                    <a:pt x="352" y="467"/>
                  </a:lnTo>
                  <a:lnTo>
                    <a:pt x="311" y="476"/>
                  </a:lnTo>
                  <a:lnTo>
                    <a:pt x="267" y="479"/>
                  </a:lnTo>
                  <a:lnTo>
                    <a:pt x="224" y="476"/>
                  </a:lnTo>
                  <a:lnTo>
                    <a:pt x="183" y="467"/>
                  </a:lnTo>
                  <a:lnTo>
                    <a:pt x="145" y="453"/>
                  </a:lnTo>
                  <a:lnTo>
                    <a:pt x="110" y="433"/>
                  </a:lnTo>
                  <a:lnTo>
                    <a:pt x="79" y="410"/>
                  </a:lnTo>
                  <a:lnTo>
                    <a:pt x="52" y="381"/>
                  </a:lnTo>
                  <a:lnTo>
                    <a:pt x="30" y="350"/>
                  </a:lnTo>
                  <a:lnTo>
                    <a:pt x="14" y="316"/>
                  </a:lnTo>
                  <a:lnTo>
                    <a:pt x="4" y="279"/>
                  </a:lnTo>
                  <a:lnTo>
                    <a:pt x="0" y="240"/>
                  </a:lnTo>
                  <a:lnTo>
                    <a:pt x="4" y="201"/>
                  </a:lnTo>
                  <a:lnTo>
                    <a:pt x="14" y="164"/>
                  </a:lnTo>
                  <a:lnTo>
                    <a:pt x="30" y="130"/>
                  </a:lnTo>
                  <a:lnTo>
                    <a:pt x="52" y="99"/>
                  </a:lnTo>
                  <a:lnTo>
                    <a:pt x="79" y="71"/>
                  </a:lnTo>
                  <a:lnTo>
                    <a:pt x="110" y="47"/>
                  </a:lnTo>
                  <a:lnTo>
                    <a:pt x="145" y="27"/>
                  </a:lnTo>
                  <a:lnTo>
                    <a:pt x="183"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13">
              <a:extLst>
                <a:ext uri="{FF2B5EF4-FFF2-40B4-BE49-F238E27FC236}">
                  <a16:creationId xmlns:a16="http://schemas.microsoft.com/office/drawing/2014/main" id="{7A791E87-3917-F5F5-8411-CC292DA06E00}"/>
                </a:ext>
              </a:extLst>
            </p:cNvPr>
            <p:cNvSpPr>
              <a:spLocks/>
            </p:cNvSpPr>
            <p:nvPr/>
          </p:nvSpPr>
          <p:spPr bwMode="auto">
            <a:xfrm>
              <a:off x="-873125" y="3206750"/>
              <a:ext cx="106362" cy="107950"/>
            </a:xfrm>
            <a:custGeom>
              <a:avLst/>
              <a:gdLst>
                <a:gd name="T0" fmla="*/ 267 w 535"/>
                <a:gd name="T1" fmla="*/ 0 h 480"/>
                <a:gd name="T2" fmla="*/ 311 w 535"/>
                <a:gd name="T3" fmla="*/ 5 h 480"/>
                <a:gd name="T4" fmla="*/ 352 w 535"/>
                <a:gd name="T5" fmla="*/ 14 h 480"/>
                <a:gd name="T6" fmla="*/ 390 w 535"/>
                <a:gd name="T7" fmla="*/ 28 h 480"/>
                <a:gd name="T8" fmla="*/ 425 w 535"/>
                <a:gd name="T9" fmla="*/ 48 h 480"/>
                <a:gd name="T10" fmla="*/ 456 w 535"/>
                <a:gd name="T11" fmla="*/ 71 h 480"/>
                <a:gd name="T12" fmla="*/ 483 w 535"/>
                <a:gd name="T13" fmla="*/ 99 h 480"/>
                <a:gd name="T14" fmla="*/ 504 w 535"/>
                <a:gd name="T15" fmla="*/ 130 h 480"/>
                <a:gd name="T16" fmla="*/ 521 w 535"/>
                <a:gd name="T17" fmla="*/ 165 h 480"/>
                <a:gd name="T18" fmla="*/ 531 w 535"/>
                <a:gd name="T19" fmla="*/ 202 h 480"/>
                <a:gd name="T20" fmla="*/ 535 w 535"/>
                <a:gd name="T21" fmla="*/ 241 h 480"/>
                <a:gd name="T22" fmla="*/ 531 w 535"/>
                <a:gd name="T23" fmla="*/ 280 h 480"/>
                <a:gd name="T24" fmla="*/ 521 w 535"/>
                <a:gd name="T25" fmla="*/ 316 h 480"/>
                <a:gd name="T26" fmla="*/ 504 w 535"/>
                <a:gd name="T27" fmla="*/ 350 h 480"/>
                <a:gd name="T28" fmla="*/ 483 w 535"/>
                <a:gd name="T29" fmla="*/ 382 h 480"/>
                <a:gd name="T30" fmla="*/ 456 w 535"/>
                <a:gd name="T31" fmla="*/ 410 h 480"/>
                <a:gd name="T32" fmla="*/ 425 w 535"/>
                <a:gd name="T33" fmla="*/ 434 h 480"/>
                <a:gd name="T34" fmla="*/ 390 w 535"/>
                <a:gd name="T35" fmla="*/ 453 h 480"/>
                <a:gd name="T36" fmla="*/ 352 w 535"/>
                <a:gd name="T37" fmla="*/ 468 h 480"/>
                <a:gd name="T38" fmla="*/ 311 w 535"/>
                <a:gd name="T39" fmla="*/ 477 h 480"/>
                <a:gd name="T40" fmla="*/ 267 w 535"/>
                <a:gd name="T41" fmla="*/ 480 h 480"/>
                <a:gd name="T42" fmla="*/ 224 w 535"/>
                <a:gd name="T43" fmla="*/ 477 h 480"/>
                <a:gd name="T44" fmla="*/ 183 w 535"/>
                <a:gd name="T45" fmla="*/ 468 h 480"/>
                <a:gd name="T46" fmla="*/ 145 w 535"/>
                <a:gd name="T47" fmla="*/ 453 h 480"/>
                <a:gd name="T48" fmla="*/ 110 w 535"/>
                <a:gd name="T49" fmla="*/ 434 h 480"/>
                <a:gd name="T50" fmla="*/ 79 w 535"/>
                <a:gd name="T51" fmla="*/ 410 h 480"/>
                <a:gd name="T52" fmla="*/ 52 w 535"/>
                <a:gd name="T53" fmla="*/ 382 h 480"/>
                <a:gd name="T54" fmla="*/ 30 w 535"/>
                <a:gd name="T55" fmla="*/ 350 h 480"/>
                <a:gd name="T56" fmla="*/ 14 w 535"/>
                <a:gd name="T57" fmla="*/ 316 h 480"/>
                <a:gd name="T58" fmla="*/ 4 w 535"/>
                <a:gd name="T59" fmla="*/ 280 h 480"/>
                <a:gd name="T60" fmla="*/ 0 w 535"/>
                <a:gd name="T61" fmla="*/ 241 h 480"/>
                <a:gd name="T62" fmla="*/ 4 w 535"/>
                <a:gd name="T63" fmla="*/ 202 h 480"/>
                <a:gd name="T64" fmla="*/ 14 w 535"/>
                <a:gd name="T65" fmla="*/ 165 h 480"/>
                <a:gd name="T66" fmla="*/ 30 w 535"/>
                <a:gd name="T67" fmla="*/ 130 h 480"/>
                <a:gd name="T68" fmla="*/ 52 w 535"/>
                <a:gd name="T69" fmla="*/ 99 h 480"/>
                <a:gd name="T70" fmla="*/ 79 w 535"/>
                <a:gd name="T71" fmla="*/ 71 h 480"/>
                <a:gd name="T72" fmla="*/ 110 w 535"/>
                <a:gd name="T73" fmla="*/ 48 h 480"/>
                <a:gd name="T74" fmla="*/ 145 w 535"/>
                <a:gd name="T75" fmla="*/ 28 h 480"/>
                <a:gd name="T76" fmla="*/ 183 w 535"/>
                <a:gd name="T77" fmla="*/ 14 h 480"/>
                <a:gd name="T78" fmla="*/ 224 w 535"/>
                <a:gd name="T79" fmla="*/ 5 h 480"/>
                <a:gd name="T80" fmla="*/ 267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7" y="0"/>
                  </a:moveTo>
                  <a:lnTo>
                    <a:pt x="311" y="5"/>
                  </a:lnTo>
                  <a:lnTo>
                    <a:pt x="352" y="14"/>
                  </a:lnTo>
                  <a:lnTo>
                    <a:pt x="390" y="28"/>
                  </a:lnTo>
                  <a:lnTo>
                    <a:pt x="425" y="48"/>
                  </a:lnTo>
                  <a:lnTo>
                    <a:pt x="456" y="71"/>
                  </a:lnTo>
                  <a:lnTo>
                    <a:pt x="483" y="99"/>
                  </a:lnTo>
                  <a:lnTo>
                    <a:pt x="504" y="130"/>
                  </a:lnTo>
                  <a:lnTo>
                    <a:pt x="521" y="165"/>
                  </a:lnTo>
                  <a:lnTo>
                    <a:pt x="531" y="202"/>
                  </a:lnTo>
                  <a:lnTo>
                    <a:pt x="535" y="241"/>
                  </a:lnTo>
                  <a:lnTo>
                    <a:pt x="531" y="280"/>
                  </a:lnTo>
                  <a:lnTo>
                    <a:pt x="521" y="316"/>
                  </a:lnTo>
                  <a:lnTo>
                    <a:pt x="504" y="350"/>
                  </a:lnTo>
                  <a:lnTo>
                    <a:pt x="483" y="382"/>
                  </a:lnTo>
                  <a:lnTo>
                    <a:pt x="456" y="410"/>
                  </a:lnTo>
                  <a:lnTo>
                    <a:pt x="425" y="434"/>
                  </a:lnTo>
                  <a:lnTo>
                    <a:pt x="390" y="453"/>
                  </a:lnTo>
                  <a:lnTo>
                    <a:pt x="352" y="468"/>
                  </a:lnTo>
                  <a:lnTo>
                    <a:pt x="311" y="477"/>
                  </a:lnTo>
                  <a:lnTo>
                    <a:pt x="267" y="480"/>
                  </a:lnTo>
                  <a:lnTo>
                    <a:pt x="224" y="477"/>
                  </a:lnTo>
                  <a:lnTo>
                    <a:pt x="183" y="468"/>
                  </a:lnTo>
                  <a:lnTo>
                    <a:pt x="145" y="453"/>
                  </a:lnTo>
                  <a:lnTo>
                    <a:pt x="110" y="434"/>
                  </a:lnTo>
                  <a:lnTo>
                    <a:pt x="79" y="410"/>
                  </a:lnTo>
                  <a:lnTo>
                    <a:pt x="52" y="382"/>
                  </a:lnTo>
                  <a:lnTo>
                    <a:pt x="30" y="350"/>
                  </a:lnTo>
                  <a:lnTo>
                    <a:pt x="14" y="316"/>
                  </a:lnTo>
                  <a:lnTo>
                    <a:pt x="4" y="280"/>
                  </a:lnTo>
                  <a:lnTo>
                    <a:pt x="0" y="241"/>
                  </a:lnTo>
                  <a:lnTo>
                    <a:pt x="4" y="202"/>
                  </a:lnTo>
                  <a:lnTo>
                    <a:pt x="14" y="165"/>
                  </a:lnTo>
                  <a:lnTo>
                    <a:pt x="30" y="130"/>
                  </a:lnTo>
                  <a:lnTo>
                    <a:pt x="52" y="99"/>
                  </a:lnTo>
                  <a:lnTo>
                    <a:pt x="79" y="71"/>
                  </a:lnTo>
                  <a:lnTo>
                    <a:pt x="110" y="48"/>
                  </a:lnTo>
                  <a:lnTo>
                    <a:pt x="145" y="28"/>
                  </a:lnTo>
                  <a:lnTo>
                    <a:pt x="183" y="14"/>
                  </a:lnTo>
                  <a:lnTo>
                    <a:pt x="224" y="5"/>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9" name="Freeform 114">
              <a:extLst>
                <a:ext uri="{FF2B5EF4-FFF2-40B4-BE49-F238E27FC236}">
                  <a16:creationId xmlns:a16="http://schemas.microsoft.com/office/drawing/2014/main" id="{D2B7F777-63EE-015F-0638-AD830489AA5E}"/>
                </a:ext>
              </a:extLst>
            </p:cNvPr>
            <p:cNvSpPr>
              <a:spLocks/>
            </p:cNvSpPr>
            <p:nvPr/>
          </p:nvSpPr>
          <p:spPr bwMode="auto">
            <a:xfrm>
              <a:off x="-584200" y="2909888"/>
              <a:ext cx="106362" cy="109538"/>
            </a:xfrm>
            <a:custGeom>
              <a:avLst/>
              <a:gdLst>
                <a:gd name="T0" fmla="*/ 266 w 534"/>
                <a:gd name="T1" fmla="*/ 0 h 480"/>
                <a:gd name="T2" fmla="*/ 310 w 534"/>
                <a:gd name="T3" fmla="*/ 4 h 480"/>
                <a:gd name="T4" fmla="*/ 351 w 534"/>
                <a:gd name="T5" fmla="*/ 13 h 480"/>
                <a:gd name="T6" fmla="*/ 389 w 534"/>
                <a:gd name="T7" fmla="*/ 28 h 480"/>
                <a:gd name="T8" fmla="*/ 424 w 534"/>
                <a:gd name="T9" fmla="*/ 47 h 480"/>
                <a:gd name="T10" fmla="*/ 455 w 534"/>
                <a:gd name="T11" fmla="*/ 71 h 480"/>
                <a:gd name="T12" fmla="*/ 482 w 534"/>
                <a:gd name="T13" fmla="*/ 99 h 480"/>
                <a:gd name="T14" fmla="*/ 504 w 534"/>
                <a:gd name="T15" fmla="*/ 130 h 480"/>
                <a:gd name="T16" fmla="*/ 520 w 534"/>
                <a:gd name="T17" fmla="*/ 165 h 480"/>
                <a:gd name="T18" fmla="*/ 531 w 534"/>
                <a:gd name="T19" fmla="*/ 201 h 480"/>
                <a:gd name="T20" fmla="*/ 534 w 534"/>
                <a:gd name="T21" fmla="*/ 241 h 480"/>
                <a:gd name="T22" fmla="*/ 531 w 534"/>
                <a:gd name="T23" fmla="*/ 280 h 480"/>
                <a:gd name="T24" fmla="*/ 520 w 534"/>
                <a:gd name="T25" fmla="*/ 316 h 480"/>
                <a:gd name="T26" fmla="*/ 504 w 534"/>
                <a:gd name="T27" fmla="*/ 351 h 480"/>
                <a:gd name="T28" fmla="*/ 482 w 534"/>
                <a:gd name="T29" fmla="*/ 382 h 480"/>
                <a:gd name="T30" fmla="*/ 455 w 534"/>
                <a:gd name="T31" fmla="*/ 411 h 480"/>
                <a:gd name="T32" fmla="*/ 424 w 534"/>
                <a:gd name="T33" fmla="*/ 434 h 480"/>
                <a:gd name="T34" fmla="*/ 389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30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30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3 h 480"/>
                <a:gd name="T78" fmla="*/ 224 w 534"/>
                <a:gd name="T79" fmla="*/ 4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4"/>
                  </a:lnTo>
                  <a:lnTo>
                    <a:pt x="351" y="13"/>
                  </a:lnTo>
                  <a:lnTo>
                    <a:pt x="389" y="28"/>
                  </a:lnTo>
                  <a:lnTo>
                    <a:pt x="424" y="47"/>
                  </a:lnTo>
                  <a:lnTo>
                    <a:pt x="455" y="71"/>
                  </a:lnTo>
                  <a:lnTo>
                    <a:pt x="482" y="99"/>
                  </a:lnTo>
                  <a:lnTo>
                    <a:pt x="504" y="130"/>
                  </a:lnTo>
                  <a:lnTo>
                    <a:pt x="520" y="165"/>
                  </a:lnTo>
                  <a:lnTo>
                    <a:pt x="531" y="201"/>
                  </a:lnTo>
                  <a:lnTo>
                    <a:pt x="534" y="241"/>
                  </a:lnTo>
                  <a:lnTo>
                    <a:pt x="531" y="280"/>
                  </a:lnTo>
                  <a:lnTo>
                    <a:pt x="520" y="316"/>
                  </a:lnTo>
                  <a:lnTo>
                    <a:pt x="504" y="351"/>
                  </a:lnTo>
                  <a:lnTo>
                    <a:pt x="482" y="382"/>
                  </a:lnTo>
                  <a:lnTo>
                    <a:pt x="455" y="411"/>
                  </a:lnTo>
                  <a:lnTo>
                    <a:pt x="424" y="434"/>
                  </a:lnTo>
                  <a:lnTo>
                    <a:pt x="389" y="454"/>
                  </a:lnTo>
                  <a:lnTo>
                    <a:pt x="351" y="468"/>
                  </a:lnTo>
                  <a:lnTo>
                    <a:pt x="310" y="477"/>
                  </a:lnTo>
                  <a:lnTo>
                    <a:pt x="266" y="480"/>
                  </a:lnTo>
                  <a:lnTo>
                    <a:pt x="224" y="477"/>
                  </a:lnTo>
                  <a:lnTo>
                    <a:pt x="182" y="468"/>
                  </a:lnTo>
                  <a:lnTo>
                    <a:pt x="144" y="454"/>
                  </a:lnTo>
                  <a:lnTo>
                    <a:pt x="109" y="434"/>
                  </a:lnTo>
                  <a:lnTo>
                    <a:pt x="78" y="411"/>
                  </a:lnTo>
                  <a:lnTo>
                    <a:pt x="51" y="382"/>
                  </a:lnTo>
                  <a:lnTo>
                    <a:pt x="30" y="351"/>
                  </a:lnTo>
                  <a:lnTo>
                    <a:pt x="13" y="316"/>
                  </a:lnTo>
                  <a:lnTo>
                    <a:pt x="3" y="280"/>
                  </a:lnTo>
                  <a:lnTo>
                    <a:pt x="0" y="241"/>
                  </a:lnTo>
                  <a:lnTo>
                    <a:pt x="3" y="201"/>
                  </a:lnTo>
                  <a:lnTo>
                    <a:pt x="13" y="165"/>
                  </a:lnTo>
                  <a:lnTo>
                    <a:pt x="30" y="130"/>
                  </a:lnTo>
                  <a:lnTo>
                    <a:pt x="51" y="99"/>
                  </a:lnTo>
                  <a:lnTo>
                    <a:pt x="78" y="71"/>
                  </a:lnTo>
                  <a:lnTo>
                    <a:pt x="109" y="47"/>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115">
              <a:extLst>
                <a:ext uri="{FF2B5EF4-FFF2-40B4-BE49-F238E27FC236}">
                  <a16:creationId xmlns:a16="http://schemas.microsoft.com/office/drawing/2014/main" id="{0B1AFDAE-146C-9CF3-EAD8-451010957E93}"/>
                </a:ext>
              </a:extLst>
            </p:cNvPr>
            <p:cNvSpPr>
              <a:spLocks/>
            </p:cNvSpPr>
            <p:nvPr/>
          </p:nvSpPr>
          <p:spPr bwMode="auto">
            <a:xfrm>
              <a:off x="-1162050" y="2909888"/>
              <a:ext cx="106362" cy="109538"/>
            </a:xfrm>
            <a:custGeom>
              <a:avLst/>
              <a:gdLst>
                <a:gd name="T0" fmla="*/ 268 w 535"/>
                <a:gd name="T1" fmla="*/ 0 h 480"/>
                <a:gd name="T2" fmla="*/ 311 w 535"/>
                <a:gd name="T3" fmla="*/ 4 h 480"/>
                <a:gd name="T4" fmla="*/ 352 w 535"/>
                <a:gd name="T5" fmla="*/ 13 h 480"/>
                <a:gd name="T6" fmla="*/ 390 w 535"/>
                <a:gd name="T7" fmla="*/ 28 h 480"/>
                <a:gd name="T8" fmla="*/ 426 w 535"/>
                <a:gd name="T9" fmla="*/ 47 h 480"/>
                <a:gd name="T10" fmla="*/ 457 w 535"/>
                <a:gd name="T11" fmla="*/ 71 h 480"/>
                <a:gd name="T12" fmla="*/ 483 w 535"/>
                <a:gd name="T13" fmla="*/ 99 h 480"/>
                <a:gd name="T14" fmla="*/ 505 w 535"/>
                <a:gd name="T15" fmla="*/ 130 h 480"/>
                <a:gd name="T16" fmla="*/ 521 w 535"/>
                <a:gd name="T17" fmla="*/ 165 h 480"/>
                <a:gd name="T18" fmla="*/ 531 w 535"/>
                <a:gd name="T19" fmla="*/ 201 h 480"/>
                <a:gd name="T20" fmla="*/ 535 w 535"/>
                <a:gd name="T21" fmla="*/ 241 h 480"/>
                <a:gd name="T22" fmla="*/ 531 w 535"/>
                <a:gd name="T23" fmla="*/ 280 h 480"/>
                <a:gd name="T24" fmla="*/ 521 w 535"/>
                <a:gd name="T25" fmla="*/ 316 h 480"/>
                <a:gd name="T26" fmla="*/ 505 w 535"/>
                <a:gd name="T27" fmla="*/ 351 h 480"/>
                <a:gd name="T28" fmla="*/ 483 w 535"/>
                <a:gd name="T29" fmla="*/ 382 h 480"/>
                <a:gd name="T30" fmla="*/ 457 w 535"/>
                <a:gd name="T31" fmla="*/ 411 h 480"/>
                <a:gd name="T32" fmla="*/ 426 w 535"/>
                <a:gd name="T33" fmla="*/ 434 h 480"/>
                <a:gd name="T34" fmla="*/ 390 w 535"/>
                <a:gd name="T35" fmla="*/ 454 h 480"/>
                <a:gd name="T36" fmla="*/ 352 w 535"/>
                <a:gd name="T37" fmla="*/ 468 h 480"/>
                <a:gd name="T38" fmla="*/ 311 w 535"/>
                <a:gd name="T39" fmla="*/ 477 h 480"/>
                <a:gd name="T40" fmla="*/ 268 w 535"/>
                <a:gd name="T41" fmla="*/ 480 h 480"/>
                <a:gd name="T42" fmla="*/ 224 w 535"/>
                <a:gd name="T43" fmla="*/ 477 h 480"/>
                <a:gd name="T44" fmla="*/ 184 w 535"/>
                <a:gd name="T45" fmla="*/ 468 h 480"/>
                <a:gd name="T46" fmla="*/ 144 w 535"/>
                <a:gd name="T47" fmla="*/ 454 h 480"/>
                <a:gd name="T48" fmla="*/ 110 w 535"/>
                <a:gd name="T49" fmla="*/ 434 h 480"/>
                <a:gd name="T50" fmla="*/ 78 w 535"/>
                <a:gd name="T51" fmla="*/ 411 h 480"/>
                <a:gd name="T52" fmla="*/ 53 w 535"/>
                <a:gd name="T53" fmla="*/ 382 h 480"/>
                <a:gd name="T54" fmla="*/ 30 w 535"/>
                <a:gd name="T55" fmla="*/ 351 h 480"/>
                <a:gd name="T56" fmla="*/ 14 w 535"/>
                <a:gd name="T57" fmla="*/ 316 h 480"/>
                <a:gd name="T58" fmla="*/ 4 w 535"/>
                <a:gd name="T59" fmla="*/ 280 h 480"/>
                <a:gd name="T60" fmla="*/ 0 w 535"/>
                <a:gd name="T61" fmla="*/ 241 h 480"/>
                <a:gd name="T62" fmla="*/ 4 w 535"/>
                <a:gd name="T63" fmla="*/ 201 h 480"/>
                <a:gd name="T64" fmla="*/ 14 w 535"/>
                <a:gd name="T65" fmla="*/ 165 h 480"/>
                <a:gd name="T66" fmla="*/ 30 w 535"/>
                <a:gd name="T67" fmla="*/ 130 h 480"/>
                <a:gd name="T68" fmla="*/ 53 w 535"/>
                <a:gd name="T69" fmla="*/ 99 h 480"/>
                <a:gd name="T70" fmla="*/ 78 w 535"/>
                <a:gd name="T71" fmla="*/ 71 h 480"/>
                <a:gd name="T72" fmla="*/ 110 w 535"/>
                <a:gd name="T73" fmla="*/ 47 h 480"/>
                <a:gd name="T74" fmla="*/ 144 w 535"/>
                <a:gd name="T75" fmla="*/ 28 h 480"/>
                <a:gd name="T76" fmla="*/ 184 w 535"/>
                <a:gd name="T77" fmla="*/ 13 h 480"/>
                <a:gd name="T78" fmla="*/ 224 w 535"/>
                <a:gd name="T79" fmla="*/ 4 h 480"/>
                <a:gd name="T80" fmla="*/ 268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8" y="0"/>
                  </a:moveTo>
                  <a:lnTo>
                    <a:pt x="311" y="4"/>
                  </a:lnTo>
                  <a:lnTo>
                    <a:pt x="352" y="13"/>
                  </a:lnTo>
                  <a:lnTo>
                    <a:pt x="390" y="28"/>
                  </a:lnTo>
                  <a:lnTo>
                    <a:pt x="426" y="47"/>
                  </a:lnTo>
                  <a:lnTo>
                    <a:pt x="457" y="71"/>
                  </a:lnTo>
                  <a:lnTo>
                    <a:pt x="483" y="99"/>
                  </a:lnTo>
                  <a:lnTo>
                    <a:pt x="505" y="130"/>
                  </a:lnTo>
                  <a:lnTo>
                    <a:pt x="521" y="165"/>
                  </a:lnTo>
                  <a:lnTo>
                    <a:pt x="531" y="201"/>
                  </a:lnTo>
                  <a:lnTo>
                    <a:pt x="535" y="241"/>
                  </a:lnTo>
                  <a:lnTo>
                    <a:pt x="531" y="280"/>
                  </a:lnTo>
                  <a:lnTo>
                    <a:pt x="521" y="316"/>
                  </a:lnTo>
                  <a:lnTo>
                    <a:pt x="505" y="351"/>
                  </a:lnTo>
                  <a:lnTo>
                    <a:pt x="483" y="382"/>
                  </a:lnTo>
                  <a:lnTo>
                    <a:pt x="457" y="411"/>
                  </a:lnTo>
                  <a:lnTo>
                    <a:pt x="426" y="434"/>
                  </a:lnTo>
                  <a:lnTo>
                    <a:pt x="390" y="454"/>
                  </a:lnTo>
                  <a:lnTo>
                    <a:pt x="352" y="468"/>
                  </a:lnTo>
                  <a:lnTo>
                    <a:pt x="311" y="477"/>
                  </a:lnTo>
                  <a:lnTo>
                    <a:pt x="268" y="480"/>
                  </a:lnTo>
                  <a:lnTo>
                    <a:pt x="224" y="477"/>
                  </a:lnTo>
                  <a:lnTo>
                    <a:pt x="184" y="468"/>
                  </a:lnTo>
                  <a:lnTo>
                    <a:pt x="144" y="454"/>
                  </a:lnTo>
                  <a:lnTo>
                    <a:pt x="110" y="434"/>
                  </a:lnTo>
                  <a:lnTo>
                    <a:pt x="78" y="411"/>
                  </a:lnTo>
                  <a:lnTo>
                    <a:pt x="53" y="382"/>
                  </a:lnTo>
                  <a:lnTo>
                    <a:pt x="30" y="351"/>
                  </a:lnTo>
                  <a:lnTo>
                    <a:pt x="14" y="316"/>
                  </a:lnTo>
                  <a:lnTo>
                    <a:pt x="4" y="280"/>
                  </a:lnTo>
                  <a:lnTo>
                    <a:pt x="0" y="241"/>
                  </a:lnTo>
                  <a:lnTo>
                    <a:pt x="4" y="201"/>
                  </a:lnTo>
                  <a:lnTo>
                    <a:pt x="14" y="165"/>
                  </a:lnTo>
                  <a:lnTo>
                    <a:pt x="30" y="130"/>
                  </a:lnTo>
                  <a:lnTo>
                    <a:pt x="53" y="99"/>
                  </a:lnTo>
                  <a:lnTo>
                    <a:pt x="78" y="71"/>
                  </a:lnTo>
                  <a:lnTo>
                    <a:pt x="110" y="47"/>
                  </a:lnTo>
                  <a:lnTo>
                    <a:pt x="144" y="28"/>
                  </a:lnTo>
                  <a:lnTo>
                    <a:pt x="184" y="13"/>
                  </a:lnTo>
                  <a:lnTo>
                    <a:pt x="224" y="4"/>
                  </a:lnTo>
                  <a:lnTo>
                    <a:pt x="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116">
              <a:extLst>
                <a:ext uri="{FF2B5EF4-FFF2-40B4-BE49-F238E27FC236}">
                  <a16:creationId xmlns:a16="http://schemas.microsoft.com/office/drawing/2014/main" id="{FF18B60D-676D-9D33-82B9-6C051609902E}"/>
                </a:ext>
              </a:extLst>
            </p:cNvPr>
            <p:cNvSpPr>
              <a:spLocks/>
            </p:cNvSpPr>
            <p:nvPr/>
          </p:nvSpPr>
          <p:spPr bwMode="auto">
            <a:xfrm>
              <a:off x="-1041400" y="2738438"/>
              <a:ext cx="441325" cy="452438"/>
            </a:xfrm>
            <a:custGeom>
              <a:avLst/>
              <a:gdLst>
                <a:gd name="T0" fmla="*/ 1222 w 2224"/>
                <a:gd name="T1" fmla="*/ 181 h 1997"/>
                <a:gd name="T2" fmla="*/ 1148 w 2224"/>
                <a:gd name="T3" fmla="*/ 523 h 1997"/>
                <a:gd name="T4" fmla="*/ 1263 w 2224"/>
                <a:gd name="T5" fmla="*/ 541 h 1997"/>
                <a:gd name="T6" fmla="*/ 1368 w 2224"/>
                <a:gd name="T7" fmla="*/ 580 h 1997"/>
                <a:gd name="T8" fmla="*/ 1463 w 2224"/>
                <a:gd name="T9" fmla="*/ 638 h 1997"/>
                <a:gd name="T10" fmla="*/ 1678 w 2224"/>
                <a:gd name="T11" fmla="*/ 350 h 1997"/>
                <a:gd name="T12" fmla="*/ 1833 w 2224"/>
                <a:gd name="T13" fmla="*/ 491 h 1997"/>
                <a:gd name="T14" fmla="*/ 1514 w 2224"/>
                <a:gd name="T15" fmla="*/ 682 h 1997"/>
                <a:gd name="T16" fmla="*/ 1581 w 2224"/>
                <a:gd name="T17" fmla="*/ 766 h 1997"/>
                <a:gd name="T18" fmla="*/ 1627 w 2224"/>
                <a:gd name="T19" fmla="*/ 862 h 1997"/>
                <a:gd name="T20" fmla="*/ 1650 w 2224"/>
                <a:gd name="T21" fmla="*/ 967 h 1997"/>
                <a:gd name="T22" fmla="*/ 2023 w 2224"/>
                <a:gd name="T23" fmla="*/ 899 h 1997"/>
                <a:gd name="T24" fmla="*/ 2023 w 2224"/>
                <a:gd name="T25" fmla="*/ 1098 h 1997"/>
                <a:gd name="T26" fmla="*/ 1651 w 2224"/>
                <a:gd name="T27" fmla="*/ 1031 h 1997"/>
                <a:gd name="T28" fmla="*/ 1636 w 2224"/>
                <a:gd name="T29" fmla="*/ 1123 h 1997"/>
                <a:gd name="T30" fmla="*/ 1603 w 2224"/>
                <a:gd name="T31" fmla="*/ 1210 h 1997"/>
                <a:gd name="T32" fmla="*/ 1553 w 2224"/>
                <a:gd name="T33" fmla="*/ 1287 h 1997"/>
                <a:gd name="T34" fmla="*/ 1781 w 2224"/>
                <a:gd name="T35" fmla="*/ 1554 h 1997"/>
                <a:gd name="T36" fmla="*/ 1897 w 2224"/>
                <a:gd name="T37" fmla="*/ 1705 h 1997"/>
                <a:gd name="T38" fmla="*/ 1730 w 2224"/>
                <a:gd name="T39" fmla="*/ 1599 h 1997"/>
                <a:gd name="T40" fmla="*/ 1433 w 2224"/>
                <a:gd name="T41" fmla="*/ 1397 h 1997"/>
                <a:gd name="T42" fmla="*/ 1347 w 2224"/>
                <a:gd name="T43" fmla="*/ 1444 h 1997"/>
                <a:gd name="T44" fmla="*/ 1251 w 2224"/>
                <a:gd name="T45" fmla="*/ 1476 h 1997"/>
                <a:gd name="T46" fmla="*/ 1148 w 2224"/>
                <a:gd name="T47" fmla="*/ 1491 h 1997"/>
                <a:gd name="T48" fmla="*/ 1222 w 2224"/>
                <a:gd name="T49" fmla="*/ 1816 h 1997"/>
                <a:gd name="T50" fmla="*/ 1001 w 2224"/>
                <a:gd name="T51" fmla="*/ 1816 h 1997"/>
                <a:gd name="T52" fmla="*/ 1076 w 2224"/>
                <a:gd name="T53" fmla="*/ 1491 h 1997"/>
                <a:gd name="T54" fmla="*/ 972 w 2224"/>
                <a:gd name="T55" fmla="*/ 1476 h 1997"/>
                <a:gd name="T56" fmla="*/ 876 w 2224"/>
                <a:gd name="T57" fmla="*/ 1444 h 1997"/>
                <a:gd name="T58" fmla="*/ 788 w 2224"/>
                <a:gd name="T59" fmla="*/ 1397 h 1997"/>
                <a:gd name="T60" fmla="*/ 492 w 2224"/>
                <a:gd name="T61" fmla="*/ 1599 h 1997"/>
                <a:gd name="T62" fmla="*/ 324 w 2224"/>
                <a:gd name="T63" fmla="*/ 1705 h 1997"/>
                <a:gd name="T64" fmla="*/ 442 w 2224"/>
                <a:gd name="T65" fmla="*/ 1554 h 1997"/>
                <a:gd name="T66" fmla="*/ 665 w 2224"/>
                <a:gd name="T67" fmla="*/ 1280 h 1997"/>
                <a:gd name="T68" fmla="*/ 609 w 2224"/>
                <a:gd name="T69" fmla="*/ 1189 h 1997"/>
                <a:gd name="T70" fmla="*/ 578 w 2224"/>
                <a:gd name="T71" fmla="*/ 1086 h 1997"/>
                <a:gd name="T72" fmla="*/ 201 w 2224"/>
                <a:gd name="T73" fmla="*/ 1031 h 1997"/>
                <a:gd name="T74" fmla="*/ 0 w 2224"/>
                <a:gd name="T75" fmla="*/ 999 h 1997"/>
                <a:gd name="T76" fmla="*/ 201 w 2224"/>
                <a:gd name="T77" fmla="*/ 967 h 1997"/>
                <a:gd name="T78" fmla="*/ 581 w 2224"/>
                <a:gd name="T79" fmla="*/ 912 h 1997"/>
                <a:gd name="T80" fmla="*/ 616 w 2224"/>
                <a:gd name="T81" fmla="*/ 812 h 1997"/>
                <a:gd name="T82" fmla="*/ 673 w 2224"/>
                <a:gd name="T83" fmla="*/ 722 h 1997"/>
                <a:gd name="T84" fmla="*/ 442 w 2224"/>
                <a:gd name="T85" fmla="*/ 443 h 1997"/>
                <a:gd name="T86" fmla="*/ 324 w 2224"/>
                <a:gd name="T87" fmla="*/ 293 h 1997"/>
                <a:gd name="T88" fmla="*/ 492 w 2224"/>
                <a:gd name="T89" fmla="*/ 397 h 1997"/>
                <a:gd name="T90" fmla="*/ 805 w 2224"/>
                <a:gd name="T91" fmla="*/ 607 h 1997"/>
                <a:gd name="T92" fmla="*/ 905 w 2224"/>
                <a:gd name="T93" fmla="*/ 558 h 1997"/>
                <a:gd name="T94" fmla="*/ 1017 w 2224"/>
                <a:gd name="T95" fmla="*/ 529 h 1997"/>
                <a:gd name="T96" fmla="*/ 1076 w 2224"/>
                <a:gd name="T97" fmla="*/ 181 h 1997"/>
                <a:gd name="T98" fmla="*/ 1111 w 2224"/>
                <a:gd name="T99" fmla="*/ 0 h 1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4" h="1997">
                  <a:moveTo>
                    <a:pt x="1111" y="0"/>
                  </a:moveTo>
                  <a:lnTo>
                    <a:pt x="1222" y="181"/>
                  </a:lnTo>
                  <a:lnTo>
                    <a:pt x="1148" y="181"/>
                  </a:lnTo>
                  <a:lnTo>
                    <a:pt x="1148" y="523"/>
                  </a:lnTo>
                  <a:lnTo>
                    <a:pt x="1206" y="529"/>
                  </a:lnTo>
                  <a:lnTo>
                    <a:pt x="1263" y="541"/>
                  </a:lnTo>
                  <a:lnTo>
                    <a:pt x="1317" y="558"/>
                  </a:lnTo>
                  <a:lnTo>
                    <a:pt x="1368" y="580"/>
                  </a:lnTo>
                  <a:lnTo>
                    <a:pt x="1418" y="607"/>
                  </a:lnTo>
                  <a:lnTo>
                    <a:pt x="1463" y="638"/>
                  </a:lnTo>
                  <a:lnTo>
                    <a:pt x="1730" y="397"/>
                  </a:lnTo>
                  <a:lnTo>
                    <a:pt x="1678" y="350"/>
                  </a:lnTo>
                  <a:lnTo>
                    <a:pt x="1897" y="293"/>
                  </a:lnTo>
                  <a:lnTo>
                    <a:pt x="1833" y="491"/>
                  </a:lnTo>
                  <a:lnTo>
                    <a:pt x="1781" y="443"/>
                  </a:lnTo>
                  <a:lnTo>
                    <a:pt x="1514" y="682"/>
                  </a:lnTo>
                  <a:lnTo>
                    <a:pt x="1550" y="722"/>
                  </a:lnTo>
                  <a:lnTo>
                    <a:pt x="1581" y="766"/>
                  </a:lnTo>
                  <a:lnTo>
                    <a:pt x="1607" y="813"/>
                  </a:lnTo>
                  <a:lnTo>
                    <a:pt x="1627" y="862"/>
                  </a:lnTo>
                  <a:lnTo>
                    <a:pt x="1642" y="913"/>
                  </a:lnTo>
                  <a:lnTo>
                    <a:pt x="1650" y="967"/>
                  </a:lnTo>
                  <a:lnTo>
                    <a:pt x="2023" y="967"/>
                  </a:lnTo>
                  <a:lnTo>
                    <a:pt x="2023" y="899"/>
                  </a:lnTo>
                  <a:lnTo>
                    <a:pt x="2224" y="999"/>
                  </a:lnTo>
                  <a:lnTo>
                    <a:pt x="2023" y="1098"/>
                  </a:lnTo>
                  <a:lnTo>
                    <a:pt x="2023" y="1031"/>
                  </a:lnTo>
                  <a:lnTo>
                    <a:pt x="1651" y="1031"/>
                  </a:lnTo>
                  <a:lnTo>
                    <a:pt x="1646" y="1078"/>
                  </a:lnTo>
                  <a:lnTo>
                    <a:pt x="1636" y="1123"/>
                  </a:lnTo>
                  <a:lnTo>
                    <a:pt x="1622" y="1168"/>
                  </a:lnTo>
                  <a:lnTo>
                    <a:pt x="1603" y="1210"/>
                  </a:lnTo>
                  <a:lnTo>
                    <a:pt x="1580" y="1249"/>
                  </a:lnTo>
                  <a:lnTo>
                    <a:pt x="1553" y="1287"/>
                  </a:lnTo>
                  <a:lnTo>
                    <a:pt x="1522" y="1322"/>
                  </a:lnTo>
                  <a:lnTo>
                    <a:pt x="1781" y="1554"/>
                  </a:lnTo>
                  <a:lnTo>
                    <a:pt x="1833" y="1506"/>
                  </a:lnTo>
                  <a:lnTo>
                    <a:pt x="1897" y="1705"/>
                  </a:lnTo>
                  <a:lnTo>
                    <a:pt x="1678" y="1646"/>
                  </a:lnTo>
                  <a:lnTo>
                    <a:pt x="1730" y="1599"/>
                  </a:lnTo>
                  <a:lnTo>
                    <a:pt x="1473" y="1369"/>
                  </a:lnTo>
                  <a:lnTo>
                    <a:pt x="1433" y="1397"/>
                  </a:lnTo>
                  <a:lnTo>
                    <a:pt x="1391" y="1422"/>
                  </a:lnTo>
                  <a:lnTo>
                    <a:pt x="1347" y="1444"/>
                  </a:lnTo>
                  <a:lnTo>
                    <a:pt x="1300" y="1462"/>
                  </a:lnTo>
                  <a:lnTo>
                    <a:pt x="1251" y="1476"/>
                  </a:lnTo>
                  <a:lnTo>
                    <a:pt x="1200" y="1485"/>
                  </a:lnTo>
                  <a:lnTo>
                    <a:pt x="1148" y="1491"/>
                  </a:lnTo>
                  <a:lnTo>
                    <a:pt x="1148" y="1816"/>
                  </a:lnTo>
                  <a:lnTo>
                    <a:pt x="1222" y="1816"/>
                  </a:lnTo>
                  <a:lnTo>
                    <a:pt x="1111" y="1997"/>
                  </a:lnTo>
                  <a:lnTo>
                    <a:pt x="1001" y="1816"/>
                  </a:lnTo>
                  <a:lnTo>
                    <a:pt x="1076" y="1816"/>
                  </a:lnTo>
                  <a:lnTo>
                    <a:pt x="1076" y="1491"/>
                  </a:lnTo>
                  <a:lnTo>
                    <a:pt x="1022" y="1485"/>
                  </a:lnTo>
                  <a:lnTo>
                    <a:pt x="972" y="1476"/>
                  </a:lnTo>
                  <a:lnTo>
                    <a:pt x="923" y="1462"/>
                  </a:lnTo>
                  <a:lnTo>
                    <a:pt x="876" y="1444"/>
                  </a:lnTo>
                  <a:lnTo>
                    <a:pt x="831" y="1422"/>
                  </a:lnTo>
                  <a:lnTo>
                    <a:pt x="788" y="1397"/>
                  </a:lnTo>
                  <a:lnTo>
                    <a:pt x="749" y="1369"/>
                  </a:lnTo>
                  <a:lnTo>
                    <a:pt x="492" y="1599"/>
                  </a:lnTo>
                  <a:lnTo>
                    <a:pt x="546" y="1647"/>
                  </a:lnTo>
                  <a:lnTo>
                    <a:pt x="324" y="1705"/>
                  </a:lnTo>
                  <a:lnTo>
                    <a:pt x="389" y="1506"/>
                  </a:lnTo>
                  <a:lnTo>
                    <a:pt x="442" y="1554"/>
                  </a:lnTo>
                  <a:lnTo>
                    <a:pt x="700" y="1321"/>
                  </a:lnTo>
                  <a:lnTo>
                    <a:pt x="665" y="1280"/>
                  </a:lnTo>
                  <a:lnTo>
                    <a:pt x="635" y="1236"/>
                  </a:lnTo>
                  <a:lnTo>
                    <a:pt x="609" y="1189"/>
                  </a:lnTo>
                  <a:lnTo>
                    <a:pt x="590" y="1138"/>
                  </a:lnTo>
                  <a:lnTo>
                    <a:pt x="578" y="1086"/>
                  </a:lnTo>
                  <a:lnTo>
                    <a:pt x="571" y="1031"/>
                  </a:lnTo>
                  <a:lnTo>
                    <a:pt x="201" y="1031"/>
                  </a:lnTo>
                  <a:lnTo>
                    <a:pt x="201" y="1098"/>
                  </a:lnTo>
                  <a:lnTo>
                    <a:pt x="0" y="999"/>
                  </a:lnTo>
                  <a:lnTo>
                    <a:pt x="201" y="899"/>
                  </a:lnTo>
                  <a:lnTo>
                    <a:pt x="201" y="967"/>
                  </a:lnTo>
                  <a:lnTo>
                    <a:pt x="572" y="967"/>
                  </a:lnTo>
                  <a:lnTo>
                    <a:pt x="581" y="912"/>
                  </a:lnTo>
                  <a:lnTo>
                    <a:pt x="596" y="861"/>
                  </a:lnTo>
                  <a:lnTo>
                    <a:pt x="616" y="812"/>
                  </a:lnTo>
                  <a:lnTo>
                    <a:pt x="641" y="765"/>
                  </a:lnTo>
                  <a:lnTo>
                    <a:pt x="673" y="722"/>
                  </a:lnTo>
                  <a:lnTo>
                    <a:pt x="709" y="682"/>
                  </a:lnTo>
                  <a:lnTo>
                    <a:pt x="442" y="443"/>
                  </a:lnTo>
                  <a:lnTo>
                    <a:pt x="389" y="491"/>
                  </a:lnTo>
                  <a:lnTo>
                    <a:pt x="324" y="293"/>
                  </a:lnTo>
                  <a:lnTo>
                    <a:pt x="546" y="350"/>
                  </a:lnTo>
                  <a:lnTo>
                    <a:pt x="492" y="397"/>
                  </a:lnTo>
                  <a:lnTo>
                    <a:pt x="760" y="638"/>
                  </a:lnTo>
                  <a:lnTo>
                    <a:pt x="805" y="607"/>
                  </a:lnTo>
                  <a:lnTo>
                    <a:pt x="853" y="580"/>
                  </a:lnTo>
                  <a:lnTo>
                    <a:pt x="905" y="558"/>
                  </a:lnTo>
                  <a:lnTo>
                    <a:pt x="960" y="541"/>
                  </a:lnTo>
                  <a:lnTo>
                    <a:pt x="1017" y="529"/>
                  </a:lnTo>
                  <a:lnTo>
                    <a:pt x="1076" y="523"/>
                  </a:lnTo>
                  <a:lnTo>
                    <a:pt x="1076" y="181"/>
                  </a:lnTo>
                  <a:lnTo>
                    <a:pt x="1001" y="181"/>
                  </a:lnTo>
                  <a:lnTo>
                    <a:pt x="11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117">
              <a:extLst>
                <a:ext uri="{FF2B5EF4-FFF2-40B4-BE49-F238E27FC236}">
                  <a16:creationId xmlns:a16="http://schemas.microsoft.com/office/drawing/2014/main" id="{E8A4095F-0F75-D3A8-0620-27753BF9D7CD}"/>
                </a:ext>
              </a:extLst>
            </p:cNvPr>
            <p:cNvSpPr>
              <a:spLocks/>
            </p:cNvSpPr>
            <p:nvPr/>
          </p:nvSpPr>
          <p:spPr bwMode="auto">
            <a:xfrm>
              <a:off x="-668338" y="2700338"/>
              <a:ext cx="104775" cy="109538"/>
            </a:xfrm>
            <a:custGeom>
              <a:avLst/>
              <a:gdLst>
                <a:gd name="T0" fmla="*/ 267 w 534"/>
                <a:gd name="T1" fmla="*/ 0 h 479"/>
                <a:gd name="T2" fmla="*/ 310 w 534"/>
                <a:gd name="T3" fmla="*/ 3 h 479"/>
                <a:gd name="T4" fmla="*/ 351 w 534"/>
                <a:gd name="T5" fmla="*/ 12 h 479"/>
                <a:gd name="T6" fmla="*/ 390 w 534"/>
                <a:gd name="T7" fmla="*/ 27 h 479"/>
                <a:gd name="T8" fmla="*/ 424 w 534"/>
                <a:gd name="T9" fmla="*/ 47 h 479"/>
                <a:gd name="T10" fmla="*/ 456 w 534"/>
                <a:gd name="T11" fmla="*/ 71 h 479"/>
                <a:gd name="T12" fmla="*/ 483 w 534"/>
                <a:gd name="T13" fmla="*/ 98 h 479"/>
                <a:gd name="T14" fmla="*/ 504 w 534"/>
                <a:gd name="T15" fmla="*/ 129 h 479"/>
                <a:gd name="T16" fmla="*/ 521 w 534"/>
                <a:gd name="T17" fmla="*/ 164 h 479"/>
                <a:gd name="T18" fmla="*/ 531 w 534"/>
                <a:gd name="T19" fmla="*/ 200 h 479"/>
                <a:gd name="T20" fmla="*/ 534 w 534"/>
                <a:gd name="T21" fmla="*/ 240 h 479"/>
                <a:gd name="T22" fmla="*/ 531 w 534"/>
                <a:gd name="T23" fmla="*/ 278 h 479"/>
                <a:gd name="T24" fmla="*/ 521 w 534"/>
                <a:gd name="T25" fmla="*/ 315 h 479"/>
                <a:gd name="T26" fmla="*/ 504 w 534"/>
                <a:gd name="T27" fmla="*/ 349 h 479"/>
                <a:gd name="T28" fmla="*/ 483 w 534"/>
                <a:gd name="T29" fmla="*/ 380 h 479"/>
                <a:gd name="T30" fmla="*/ 456 w 534"/>
                <a:gd name="T31" fmla="*/ 409 h 479"/>
                <a:gd name="T32" fmla="*/ 424 w 534"/>
                <a:gd name="T33" fmla="*/ 433 h 479"/>
                <a:gd name="T34" fmla="*/ 390 w 534"/>
                <a:gd name="T35" fmla="*/ 453 h 479"/>
                <a:gd name="T36" fmla="*/ 351 w 534"/>
                <a:gd name="T37" fmla="*/ 467 h 479"/>
                <a:gd name="T38" fmla="*/ 310 w 534"/>
                <a:gd name="T39" fmla="*/ 476 h 479"/>
                <a:gd name="T40" fmla="*/ 267 w 534"/>
                <a:gd name="T41" fmla="*/ 479 h 479"/>
                <a:gd name="T42" fmla="*/ 224 w 534"/>
                <a:gd name="T43" fmla="*/ 476 h 479"/>
                <a:gd name="T44" fmla="*/ 182 w 534"/>
                <a:gd name="T45" fmla="*/ 467 h 479"/>
                <a:gd name="T46" fmla="*/ 144 w 534"/>
                <a:gd name="T47" fmla="*/ 453 h 479"/>
                <a:gd name="T48" fmla="*/ 110 w 534"/>
                <a:gd name="T49" fmla="*/ 433 h 479"/>
                <a:gd name="T50" fmla="*/ 78 w 534"/>
                <a:gd name="T51" fmla="*/ 409 h 479"/>
                <a:gd name="T52" fmla="*/ 51 w 534"/>
                <a:gd name="T53" fmla="*/ 380 h 479"/>
                <a:gd name="T54" fmla="*/ 30 w 534"/>
                <a:gd name="T55" fmla="*/ 349 h 479"/>
                <a:gd name="T56" fmla="*/ 13 w 534"/>
                <a:gd name="T57" fmla="*/ 315 h 479"/>
                <a:gd name="T58" fmla="*/ 3 w 534"/>
                <a:gd name="T59" fmla="*/ 278 h 479"/>
                <a:gd name="T60" fmla="*/ 0 w 534"/>
                <a:gd name="T61" fmla="*/ 240 h 479"/>
                <a:gd name="T62" fmla="*/ 3 w 534"/>
                <a:gd name="T63" fmla="*/ 200 h 479"/>
                <a:gd name="T64" fmla="*/ 13 w 534"/>
                <a:gd name="T65" fmla="*/ 164 h 479"/>
                <a:gd name="T66" fmla="*/ 30 w 534"/>
                <a:gd name="T67" fmla="*/ 129 h 479"/>
                <a:gd name="T68" fmla="*/ 51 w 534"/>
                <a:gd name="T69" fmla="*/ 98 h 479"/>
                <a:gd name="T70" fmla="*/ 78 w 534"/>
                <a:gd name="T71" fmla="*/ 71 h 479"/>
                <a:gd name="T72" fmla="*/ 110 w 534"/>
                <a:gd name="T73" fmla="*/ 47 h 479"/>
                <a:gd name="T74" fmla="*/ 144 w 534"/>
                <a:gd name="T75" fmla="*/ 27 h 479"/>
                <a:gd name="T76" fmla="*/ 182 w 534"/>
                <a:gd name="T77" fmla="*/ 12 h 479"/>
                <a:gd name="T78" fmla="*/ 224 w 534"/>
                <a:gd name="T79" fmla="*/ 3 h 479"/>
                <a:gd name="T80" fmla="*/ 267 w 534"/>
                <a:gd name="T81"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79">
                  <a:moveTo>
                    <a:pt x="267" y="0"/>
                  </a:moveTo>
                  <a:lnTo>
                    <a:pt x="310" y="3"/>
                  </a:lnTo>
                  <a:lnTo>
                    <a:pt x="351" y="12"/>
                  </a:lnTo>
                  <a:lnTo>
                    <a:pt x="390" y="27"/>
                  </a:lnTo>
                  <a:lnTo>
                    <a:pt x="424" y="47"/>
                  </a:lnTo>
                  <a:lnTo>
                    <a:pt x="456" y="71"/>
                  </a:lnTo>
                  <a:lnTo>
                    <a:pt x="483" y="98"/>
                  </a:lnTo>
                  <a:lnTo>
                    <a:pt x="504" y="129"/>
                  </a:lnTo>
                  <a:lnTo>
                    <a:pt x="521" y="164"/>
                  </a:lnTo>
                  <a:lnTo>
                    <a:pt x="531" y="200"/>
                  </a:lnTo>
                  <a:lnTo>
                    <a:pt x="534" y="240"/>
                  </a:lnTo>
                  <a:lnTo>
                    <a:pt x="531" y="278"/>
                  </a:lnTo>
                  <a:lnTo>
                    <a:pt x="521" y="315"/>
                  </a:lnTo>
                  <a:lnTo>
                    <a:pt x="504" y="349"/>
                  </a:lnTo>
                  <a:lnTo>
                    <a:pt x="483" y="380"/>
                  </a:lnTo>
                  <a:lnTo>
                    <a:pt x="456" y="409"/>
                  </a:lnTo>
                  <a:lnTo>
                    <a:pt x="424" y="433"/>
                  </a:lnTo>
                  <a:lnTo>
                    <a:pt x="390" y="453"/>
                  </a:lnTo>
                  <a:lnTo>
                    <a:pt x="351" y="467"/>
                  </a:lnTo>
                  <a:lnTo>
                    <a:pt x="310" y="476"/>
                  </a:lnTo>
                  <a:lnTo>
                    <a:pt x="267" y="479"/>
                  </a:lnTo>
                  <a:lnTo>
                    <a:pt x="224" y="476"/>
                  </a:lnTo>
                  <a:lnTo>
                    <a:pt x="182" y="467"/>
                  </a:lnTo>
                  <a:lnTo>
                    <a:pt x="144" y="453"/>
                  </a:lnTo>
                  <a:lnTo>
                    <a:pt x="110" y="433"/>
                  </a:lnTo>
                  <a:lnTo>
                    <a:pt x="78" y="409"/>
                  </a:lnTo>
                  <a:lnTo>
                    <a:pt x="51" y="380"/>
                  </a:lnTo>
                  <a:lnTo>
                    <a:pt x="30" y="349"/>
                  </a:lnTo>
                  <a:lnTo>
                    <a:pt x="13" y="315"/>
                  </a:lnTo>
                  <a:lnTo>
                    <a:pt x="3" y="278"/>
                  </a:lnTo>
                  <a:lnTo>
                    <a:pt x="0" y="240"/>
                  </a:lnTo>
                  <a:lnTo>
                    <a:pt x="3" y="200"/>
                  </a:lnTo>
                  <a:lnTo>
                    <a:pt x="13" y="164"/>
                  </a:lnTo>
                  <a:lnTo>
                    <a:pt x="30" y="129"/>
                  </a:lnTo>
                  <a:lnTo>
                    <a:pt x="51" y="98"/>
                  </a:lnTo>
                  <a:lnTo>
                    <a:pt x="78" y="71"/>
                  </a:lnTo>
                  <a:lnTo>
                    <a:pt x="110" y="47"/>
                  </a:lnTo>
                  <a:lnTo>
                    <a:pt x="144" y="27"/>
                  </a:lnTo>
                  <a:lnTo>
                    <a:pt x="182"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118">
              <a:extLst>
                <a:ext uri="{FF2B5EF4-FFF2-40B4-BE49-F238E27FC236}">
                  <a16:creationId xmlns:a16="http://schemas.microsoft.com/office/drawing/2014/main" id="{B6BF7233-6D79-A2E3-0AB1-8DC09590C622}"/>
                </a:ext>
              </a:extLst>
            </p:cNvPr>
            <p:cNvSpPr>
              <a:spLocks/>
            </p:cNvSpPr>
            <p:nvPr/>
          </p:nvSpPr>
          <p:spPr bwMode="auto">
            <a:xfrm>
              <a:off x="-1077913" y="3119438"/>
              <a:ext cx="106362" cy="109538"/>
            </a:xfrm>
            <a:custGeom>
              <a:avLst/>
              <a:gdLst>
                <a:gd name="T0" fmla="*/ 266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6 w 534"/>
                <a:gd name="T41" fmla="*/ 481 h 481"/>
                <a:gd name="T42" fmla="*/ 224 w 534"/>
                <a:gd name="T43" fmla="*/ 477 h 481"/>
                <a:gd name="T44" fmla="*/ 182 w 534"/>
                <a:gd name="T45" fmla="*/ 468 h 481"/>
                <a:gd name="T46" fmla="*/ 144 w 534"/>
                <a:gd name="T47" fmla="*/ 454 h 481"/>
                <a:gd name="T48" fmla="*/ 109 w 534"/>
                <a:gd name="T49" fmla="*/ 434 h 481"/>
                <a:gd name="T50" fmla="*/ 78 w 534"/>
                <a:gd name="T51" fmla="*/ 411 h 481"/>
                <a:gd name="T52" fmla="*/ 51 w 534"/>
                <a:gd name="T53" fmla="*/ 382 h 481"/>
                <a:gd name="T54" fmla="*/ 30 w 534"/>
                <a:gd name="T55" fmla="*/ 350 h 481"/>
                <a:gd name="T56" fmla="*/ 14 w 534"/>
                <a:gd name="T57" fmla="*/ 316 h 481"/>
                <a:gd name="T58" fmla="*/ 4 w 534"/>
                <a:gd name="T59" fmla="*/ 280 h 481"/>
                <a:gd name="T60" fmla="*/ 0 w 534"/>
                <a:gd name="T61" fmla="*/ 241 h 481"/>
                <a:gd name="T62" fmla="*/ 4 w 534"/>
                <a:gd name="T63" fmla="*/ 202 h 481"/>
                <a:gd name="T64" fmla="*/ 14 w 534"/>
                <a:gd name="T65" fmla="*/ 165 h 481"/>
                <a:gd name="T66" fmla="*/ 30 w 534"/>
                <a:gd name="T67" fmla="*/ 130 h 481"/>
                <a:gd name="T68" fmla="*/ 51 w 534"/>
                <a:gd name="T69" fmla="*/ 99 h 481"/>
                <a:gd name="T70" fmla="*/ 78 w 534"/>
                <a:gd name="T71" fmla="*/ 71 h 481"/>
                <a:gd name="T72" fmla="*/ 109 w 534"/>
                <a:gd name="T73" fmla="*/ 48 h 481"/>
                <a:gd name="T74" fmla="*/ 144 w 534"/>
                <a:gd name="T75" fmla="*/ 28 h 481"/>
                <a:gd name="T76" fmla="*/ 182 w 534"/>
                <a:gd name="T77" fmla="*/ 13 h 481"/>
                <a:gd name="T78" fmla="*/ 224 w 534"/>
                <a:gd name="T79" fmla="*/ 4 h 481"/>
                <a:gd name="T80" fmla="*/ 266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6"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6" y="481"/>
                  </a:lnTo>
                  <a:lnTo>
                    <a:pt x="224" y="477"/>
                  </a:lnTo>
                  <a:lnTo>
                    <a:pt x="182" y="468"/>
                  </a:lnTo>
                  <a:lnTo>
                    <a:pt x="144" y="454"/>
                  </a:lnTo>
                  <a:lnTo>
                    <a:pt x="109" y="434"/>
                  </a:lnTo>
                  <a:lnTo>
                    <a:pt x="78" y="411"/>
                  </a:lnTo>
                  <a:lnTo>
                    <a:pt x="51" y="382"/>
                  </a:lnTo>
                  <a:lnTo>
                    <a:pt x="30" y="350"/>
                  </a:lnTo>
                  <a:lnTo>
                    <a:pt x="14" y="316"/>
                  </a:lnTo>
                  <a:lnTo>
                    <a:pt x="4" y="280"/>
                  </a:lnTo>
                  <a:lnTo>
                    <a:pt x="0" y="241"/>
                  </a:lnTo>
                  <a:lnTo>
                    <a:pt x="4" y="202"/>
                  </a:lnTo>
                  <a:lnTo>
                    <a:pt x="14" y="165"/>
                  </a:lnTo>
                  <a:lnTo>
                    <a:pt x="30" y="130"/>
                  </a:lnTo>
                  <a:lnTo>
                    <a:pt x="51" y="99"/>
                  </a:lnTo>
                  <a:lnTo>
                    <a:pt x="78" y="71"/>
                  </a:lnTo>
                  <a:lnTo>
                    <a:pt x="109" y="48"/>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119">
              <a:extLst>
                <a:ext uri="{FF2B5EF4-FFF2-40B4-BE49-F238E27FC236}">
                  <a16:creationId xmlns:a16="http://schemas.microsoft.com/office/drawing/2014/main" id="{E33A8667-240C-7A00-742B-F791D0E11854}"/>
                </a:ext>
              </a:extLst>
            </p:cNvPr>
            <p:cNvSpPr>
              <a:spLocks/>
            </p:cNvSpPr>
            <p:nvPr/>
          </p:nvSpPr>
          <p:spPr bwMode="auto">
            <a:xfrm>
              <a:off x="-668338" y="3119438"/>
              <a:ext cx="104775" cy="109538"/>
            </a:xfrm>
            <a:custGeom>
              <a:avLst/>
              <a:gdLst>
                <a:gd name="T0" fmla="*/ 267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7 w 534"/>
                <a:gd name="T41" fmla="*/ 481 h 481"/>
                <a:gd name="T42" fmla="*/ 224 w 534"/>
                <a:gd name="T43" fmla="*/ 477 h 481"/>
                <a:gd name="T44" fmla="*/ 182 w 534"/>
                <a:gd name="T45" fmla="*/ 468 h 481"/>
                <a:gd name="T46" fmla="*/ 144 w 534"/>
                <a:gd name="T47" fmla="*/ 454 h 481"/>
                <a:gd name="T48" fmla="*/ 110 w 534"/>
                <a:gd name="T49" fmla="*/ 434 h 481"/>
                <a:gd name="T50" fmla="*/ 78 w 534"/>
                <a:gd name="T51" fmla="*/ 411 h 481"/>
                <a:gd name="T52" fmla="*/ 51 w 534"/>
                <a:gd name="T53" fmla="*/ 382 h 481"/>
                <a:gd name="T54" fmla="*/ 30 w 534"/>
                <a:gd name="T55" fmla="*/ 350 h 481"/>
                <a:gd name="T56" fmla="*/ 13 w 534"/>
                <a:gd name="T57" fmla="*/ 316 h 481"/>
                <a:gd name="T58" fmla="*/ 3 w 534"/>
                <a:gd name="T59" fmla="*/ 280 h 481"/>
                <a:gd name="T60" fmla="*/ 0 w 534"/>
                <a:gd name="T61" fmla="*/ 241 h 481"/>
                <a:gd name="T62" fmla="*/ 3 w 534"/>
                <a:gd name="T63" fmla="*/ 202 h 481"/>
                <a:gd name="T64" fmla="*/ 13 w 534"/>
                <a:gd name="T65" fmla="*/ 165 h 481"/>
                <a:gd name="T66" fmla="*/ 30 w 534"/>
                <a:gd name="T67" fmla="*/ 130 h 481"/>
                <a:gd name="T68" fmla="*/ 51 w 534"/>
                <a:gd name="T69" fmla="*/ 99 h 481"/>
                <a:gd name="T70" fmla="*/ 78 w 534"/>
                <a:gd name="T71" fmla="*/ 71 h 481"/>
                <a:gd name="T72" fmla="*/ 110 w 534"/>
                <a:gd name="T73" fmla="*/ 48 h 481"/>
                <a:gd name="T74" fmla="*/ 144 w 534"/>
                <a:gd name="T75" fmla="*/ 28 h 481"/>
                <a:gd name="T76" fmla="*/ 182 w 534"/>
                <a:gd name="T77" fmla="*/ 13 h 481"/>
                <a:gd name="T78" fmla="*/ 224 w 534"/>
                <a:gd name="T79" fmla="*/ 4 h 481"/>
                <a:gd name="T80" fmla="*/ 267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7"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7" y="481"/>
                  </a:lnTo>
                  <a:lnTo>
                    <a:pt x="224" y="477"/>
                  </a:lnTo>
                  <a:lnTo>
                    <a:pt x="182" y="468"/>
                  </a:lnTo>
                  <a:lnTo>
                    <a:pt x="144" y="454"/>
                  </a:lnTo>
                  <a:lnTo>
                    <a:pt x="110" y="434"/>
                  </a:lnTo>
                  <a:lnTo>
                    <a:pt x="78" y="411"/>
                  </a:lnTo>
                  <a:lnTo>
                    <a:pt x="51" y="382"/>
                  </a:lnTo>
                  <a:lnTo>
                    <a:pt x="30" y="350"/>
                  </a:lnTo>
                  <a:lnTo>
                    <a:pt x="13" y="316"/>
                  </a:lnTo>
                  <a:lnTo>
                    <a:pt x="3" y="280"/>
                  </a:lnTo>
                  <a:lnTo>
                    <a:pt x="0" y="241"/>
                  </a:lnTo>
                  <a:lnTo>
                    <a:pt x="3" y="202"/>
                  </a:lnTo>
                  <a:lnTo>
                    <a:pt x="13" y="165"/>
                  </a:lnTo>
                  <a:lnTo>
                    <a:pt x="30" y="130"/>
                  </a:lnTo>
                  <a:lnTo>
                    <a:pt x="51" y="99"/>
                  </a:lnTo>
                  <a:lnTo>
                    <a:pt x="78" y="71"/>
                  </a:lnTo>
                  <a:lnTo>
                    <a:pt x="110" y="48"/>
                  </a:lnTo>
                  <a:lnTo>
                    <a:pt x="144" y="28"/>
                  </a:lnTo>
                  <a:lnTo>
                    <a:pt x="182" y="13"/>
                  </a:lnTo>
                  <a:lnTo>
                    <a:pt x="224" y="4"/>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0">
              <a:extLst>
                <a:ext uri="{FF2B5EF4-FFF2-40B4-BE49-F238E27FC236}">
                  <a16:creationId xmlns:a16="http://schemas.microsoft.com/office/drawing/2014/main" id="{C6D75E38-150B-AC89-3FB9-E57BBEA21F56}"/>
                </a:ext>
              </a:extLst>
            </p:cNvPr>
            <p:cNvSpPr>
              <a:spLocks/>
            </p:cNvSpPr>
            <p:nvPr/>
          </p:nvSpPr>
          <p:spPr bwMode="auto">
            <a:xfrm>
              <a:off x="-1077913" y="2700338"/>
              <a:ext cx="106362" cy="109538"/>
            </a:xfrm>
            <a:custGeom>
              <a:avLst/>
              <a:gdLst>
                <a:gd name="T0" fmla="*/ 266 w 534"/>
                <a:gd name="T1" fmla="*/ 0 h 480"/>
                <a:gd name="T2" fmla="*/ 310 w 534"/>
                <a:gd name="T3" fmla="*/ 3 h 480"/>
                <a:gd name="T4" fmla="*/ 351 w 534"/>
                <a:gd name="T5" fmla="*/ 12 h 480"/>
                <a:gd name="T6" fmla="*/ 390 w 534"/>
                <a:gd name="T7" fmla="*/ 28 h 480"/>
                <a:gd name="T8" fmla="*/ 424 w 534"/>
                <a:gd name="T9" fmla="*/ 47 h 480"/>
                <a:gd name="T10" fmla="*/ 456 w 534"/>
                <a:gd name="T11" fmla="*/ 71 h 480"/>
                <a:gd name="T12" fmla="*/ 483 w 534"/>
                <a:gd name="T13" fmla="*/ 99 h 480"/>
                <a:gd name="T14" fmla="*/ 504 w 534"/>
                <a:gd name="T15" fmla="*/ 130 h 480"/>
                <a:gd name="T16" fmla="*/ 521 w 534"/>
                <a:gd name="T17" fmla="*/ 165 h 480"/>
                <a:gd name="T18" fmla="*/ 531 w 534"/>
                <a:gd name="T19" fmla="*/ 201 h 480"/>
                <a:gd name="T20" fmla="*/ 534 w 534"/>
                <a:gd name="T21" fmla="*/ 241 h 480"/>
                <a:gd name="T22" fmla="*/ 531 w 534"/>
                <a:gd name="T23" fmla="*/ 280 h 480"/>
                <a:gd name="T24" fmla="*/ 521 w 534"/>
                <a:gd name="T25" fmla="*/ 316 h 480"/>
                <a:gd name="T26" fmla="*/ 504 w 534"/>
                <a:gd name="T27" fmla="*/ 351 h 480"/>
                <a:gd name="T28" fmla="*/ 483 w 534"/>
                <a:gd name="T29" fmla="*/ 382 h 480"/>
                <a:gd name="T30" fmla="*/ 456 w 534"/>
                <a:gd name="T31" fmla="*/ 411 h 480"/>
                <a:gd name="T32" fmla="*/ 424 w 534"/>
                <a:gd name="T33" fmla="*/ 434 h 480"/>
                <a:gd name="T34" fmla="*/ 390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29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29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2 h 480"/>
                <a:gd name="T78" fmla="*/ 224 w 534"/>
                <a:gd name="T79" fmla="*/ 3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3"/>
                  </a:lnTo>
                  <a:lnTo>
                    <a:pt x="351" y="12"/>
                  </a:lnTo>
                  <a:lnTo>
                    <a:pt x="390" y="28"/>
                  </a:lnTo>
                  <a:lnTo>
                    <a:pt x="424" y="47"/>
                  </a:lnTo>
                  <a:lnTo>
                    <a:pt x="456" y="71"/>
                  </a:lnTo>
                  <a:lnTo>
                    <a:pt x="483" y="99"/>
                  </a:lnTo>
                  <a:lnTo>
                    <a:pt x="504" y="130"/>
                  </a:lnTo>
                  <a:lnTo>
                    <a:pt x="521" y="165"/>
                  </a:lnTo>
                  <a:lnTo>
                    <a:pt x="531" y="201"/>
                  </a:lnTo>
                  <a:lnTo>
                    <a:pt x="534" y="241"/>
                  </a:lnTo>
                  <a:lnTo>
                    <a:pt x="531" y="280"/>
                  </a:lnTo>
                  <a:lnTo>
                    <a:pt x="521" y="316"/>
                  </a:lnTo>
                  <a:lnTo>
                    <a:pt x="504" y="351"/>
                  </a:lnTo>
                  <a:lnTo>
                    <a:pt x="483" y="382"/>
                  </a:lnTo>
                  <a:lnTo>
                    <a:pt x="456" y="411"/>
                  </a:lnTo>
                  <a:lnTo>
                    <a:pt x="424" y="434"/>
                  </a:lnTo>
                  <a:lnTo>
                    <a:pt x="390" y="454"/>
                  </a:lnTo>
                  <a:lnTo>
                    <a:pt x="351" y="468"/>
                  </a:lnTo>
                  <a:lnTo>
                    <a:pt x="310" y="477"/>
                  </a:lnTo>
                  <a:lnTo>
                    <a:pt x="266" y="480"/>
                  </a:lnTo>
                  <a:lnTo>
                    <a:pt x="224" y="477"/>
                  </a:lnTo>
                  <a:lnTo>
                    <a:pt x="182" y="468"/>
                  </a:lnTo>
                  <a:lnTo>
                    <a:pt x="144" y="454"/>
                  </a:lnTo>
                  <a:lnTo>
                    <a:pt x="109" y="434"/>
                  </a:lnTo>
                  <a:lnTo>
                    <a:pt x="78" y="411"/>
                  </a:lnTo>
                  <a:lnTo>
                    <a:pt x="51" y="382"/>
                  </a:lnTo>
                  <a:lnTo>
                    <a:pt x="29" y="351"/>
                  </a:lnTo>
                  <a:lnTo>
                    <a:pt x="13" y="316"/>
                  </a:lnTo>
                  <a:lnTo>
                    <a:pt x="3" y="280"/>
                  </a:lnTo>
                  <a:lnTo>
                    <a:pt x="0" y="241"/>
                  </a:lnTo>
                  <a:lnTo>
                    <a:pt x="3" y="201"/>
                  </a:lnTo>
                  <a:lnTo>
                    <a:pt x="13" y="165"/>
                  </a:lnTo>
                  <a:lnTo>
                    <a:pt x="29" y="130"/>
                  </a:lnTo>
                  <a:lnTo>
                    <a:pt x="51" y="99"/>
                  </a:lnTo>
                  <a:lnTo>
                    <a:pt x="78" y="71"/>
                  </a:lnTo>
                  <a:lnTo>
                    <a:pt x="109" y="47"/>
                  </a:lnTo>
                  <a:lnTo>
                    <a:pt x="144" y="28"/>
                  </a:lnTo>
                  <a:lnTo>
                    <a:pt x="182" y="12"/>
                  </a:lnTo>
                  <a:lnTo>
                    <a:pt x="224" y="3"/>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26" name="Freeform 102">
            <a:extLst>
              <a:ext uri="{FF2B5EF4-FFF2-40B4-BE49-F238E27FC236}">
                <a16:creationId xmlns:a16="http://schemas.microsoft.com/office/drawing/2014/main" id="{48D5CF13-E924-FA10-A7C2-CC86ECBD599D}"/>
              </a:ext>
            </a:extLst>
          </p:cNvPr>
          <p:cNvSpPr>
            <a:spLocks noEditPoints="1"/>
          </p:cNvSpPr>
          <p:nvPr/>
        </p:nvSpPr>
        <p:spPr bwMode="auto">
          <a:xfrm>
            <a:off x="7067691" y="4154357"/>
            <a:ext cx="493383" cy="554960"/>
          </a:xfrm>
          <a:custGeom>
            <a:avLst/>
            <a:gdLst>
              <a:gd name="T0" fmla="*/ 2363 w 3010"/>
              <a:gd name="T1" fmla="*/ 2515 h 3384"/>
              <a:gd name="T2" fmla="*/ 2175 w 3010"/>
              <a:gd name="T3" fmla="*/ 2631 h 3384"/>
              <a:gd name="T4" fmla="*/ 2182 w 3010"/>
              <a:gd name="T5" fmla="*/ 2426 h 3384"/>
              <a:gd name="T6" fmla="*/ 234 w 3010"/>
              <a:gd name="T7" fmla="*/ 2589 h 3384"/>
              <a:gd name="T8" fmla="*/ 25 w 3010"/>
              <a:gd name="T9" fmla="*/ 2544 h 3384"/>
              <a:gd name="T10" fmla="*/ 224 w 3010"/>
              <a:gd name="T11" fmla="*/ 2426 h 3384"/>
              <a:gd name="T12" fmla="*/ 2005 w 3010"/>
              <a:gd name="T13" fmla="*/ 2408 h 3384"/>
              <a:gd name="T14" fmla="*/ 2101 w 3010"/>
              <a:gd name="T15" fmla="*/ 3201 h 3384"/>
              <a:gd name="T16" fmla="*/ 1686 w 3010"/>
              <a:gd name="T17" fmla="*/ 2329 h 3384"/>
              <a:gd name="T18" fmla="*/ 721 w 3010"/>
              <a:gd name="T19" fmla="*/ 2330 h 3384"/>
              <a:gd name="T20" fmla="*/ 306 w 3010"/>
              <a:gd name="T21" fmla="*/ 3201 h 3384"/>
              <a:gd name="T22" fmla="*/ 401 w 3010"/>
              <a:gd name="T23" fmla="*/ 2408 h 3384"/>
              <a:gd name="T24" fmla="*/ 1203 w 3010"/>
              <a:gd name="T25" fmla="*/ 2109 h 3384"/>
              <a:gd name="T26" fmla="*/ 1535 w 3010"/>
              <a:gd name="T27" fmla="*/ 2244 h 3384"/>
              <a:gd name="T28" fmla="*/ 1674 w 3010"/>
              <a:gd name="T29" fmla="*/ 2569 h 3384"/>
              <a:gd name="T30" fmla="*/ 781 w 3010"/>
              <a:gd name="T31" fmla="*/ 2367 h 3384"/>
              <a:gd name="T32" fmla="*/ 1045 w 3010"/>
              <a:gd name="T33" fmla="*/ 2136 h 3384"/>
              <a:gd name="T34" fmla="*/ 2258 w 3010"/>
              <a:gd name="T35" fmla="*/ 2107 h 3384"/>
              <a:gd name="T36" fmla="*/ 2307 w 3010"/>
              <a:gd name="T37" fmla="*/ 2269 h 3384"/>
              <a:gd name="T38" fmla="*/ 2155 w 3010"/>
              <a:gd name="T39" fmla="*/ 2348 h 3384"/>
              <a:gd name="T40" fmla="*/ 2045 w 3010"/>
              <a:gd name="T41" fmla="*/ 2217 h 3384"/>
              <a:gd name="T42" fmla="*/ 2155 w 3010"/>
              <a:gd name="T43" fmla="*/ 2087 h 3384"/>
              <a:gd name="T44" fmla="*/ 337 w 3010"/>
              <a:gd name="T45" fmla="*/ 2143 h 3384"/>
              <a:gd name="T46" fmla="*/ 320 w 3010"/>
              <a:gd name="T47" fmla="*/ 2311 h 3384"/>
              <a:gd name="T48" fmla="*/ 149 w 3010"/>
              <a:gd name="T49" fmla="*/ 2328 h 3384"/>
              <a:gd name="T50" fmla="*/ 100 w 3010"/>
              <a:gd name="T51" fmla="*/ 2166 h 3384"/>
              <a:gd name="T52" fmla="*/ 1776 w 3010"/>
              <a:gd name="T53" fmla="*/ 1842 h 3384"/>
              <a:gd name="T54" fmla="*/ 1967 w 3010"/>
              <a:gd name="T55" fmla="*/ 1971 h 3384"/>
              <a:gd name="T56" fmla="*/ 1907 w 3010"/>
              <a:gd name="T57" fmla="*/ 2191 h 3384"/>
              <a:gd name="T58" fmla="*/ 1675 w 3010"/>
              <a:gd name="T59" fmla="*/ 2211 h 3384"/>
              <a:gd name="T60" fmla="*/ 1577 w 3010"/>
              <a:gd name="T61" fmla="*/ 2005 h 3384"/>
              <a:gd name="T62" fmla="*/ 1741 w 3010"/>
              <a:gd name="T63" fmla="*/ 1845 h 3384"/>
              <a:gd name="T64" fmla="*/ 785 w 3010"/>
              <a:gd name="T65" fmla="*/ 1912 h 3384"/>
              <a:gd name="T66" fmla="*/ 805 w 3010"/>
              <a:gd name="T67" fmla="*/ 2140 h 3384"/>
              <a:gd name="T68" fmla="*/ 593 w 3010"/>
              <a:gd name="T69" fmla="*/ 2235 h 3384"/>
              <a:gd name="T70" fmla="*/ 430 w 3010"/>
              <a:gd name="T71" fmla="*/ 2076 h 3384"/>
              <a:gd name="T72" fmla="*/ 528 w 3010"/>
              <a:gd name="T73" fmla="*/ 1869 h 3384"/>
              <a:gd name="T74" fmla="*/ 1329 w 3010"/>
              <a:gd name="T75" fmla="*/ 1474 h 3384"/>
              <a:gd name="T76" fmla="*/ 1499 w 3010"/>
              <a:gd name="T77" fmla="*/ 1696 h 3384"/>
              <a:gd name="T78" fmla="*/ 1400 w 3010"/>
              <a:gd name="T79" fmla="*/ 1960 h 3384"/>
              <a:gd name="T80" fmla="*/ 1116 w 3010"/>
              <a:gd name="T81" fmla="*/ 2020 h 3384"/>
              <a:gd name="T82" fmla="*/ 916 w 3010"/>
              <a:gd name="T83" fmla="*/ 1823 h 3384"/>
              <a:gd name="T84" fmla="*/ 977 w 3010"/>
              <a:gd name="T85" fmla="*/ 1547 h 3384"/>
              <a:gd name="T86" fmla="*/ 1484 w 3010"/>
              <a:gd name="T87" fmla="*/ 120 h 3384"/>
              <a:gd name="T88" fmla="*/ 1288 w 3010"/>
              <a:gd name="T89" fmla="*/ 236 h 3384"/>
              <a:gd name="T90" fmla="*/ 1288 w 3010"/>
              <a:gd name="T91" fmla="*/ 980 h 3384"/>
              <a:gd name="T92" fmla="*/ 1484 w 3010"/>
              <a:gd name="T93" fmla="*/ 1097 h 3384"/>
              <a:gd name="T94" fmla="*/ 2769 w 3010"/>
              <a:gd name="T95" fmla="*/ 1073 h 3384"/>
              <a:gd name="T96" fmla="*/ 2888 w 3010"/>
              <a:gd name="T97" fmla="*/ 882 h 3384"/>
              <a:gd name="T98" fmla="*/ 2797 w 3010"/>
              <a:gd name="T99" fmla="*/ 161 h 3384"/>
              <a:gd name="T100" fmla="*/ 2668 w 3010"/>
              <a:gd name="T101" fmla="*/ 0 h 3384"/>
              <a:gd name="T102" fmla="*/ 2939 w 3010"/>
              <a:gd name="T103" fmla="*/ 130 h 3384"/>
              <a:gd name="T104" fmla="*/ 3007 w 3010"/>
              <a:gd name="T105" fmla="*/ 928 h 3384"/>
              <a:gd name="T106" fmla="*/ 2840 w 3010"/>
              <a:gd name="T107" fmla="*/ 1170 h 3384"/>
              <a:gd name="T108" fmla="*/ 1604 w 3010"/>
              <a:gd name="T109" fmla="*/ 1216 h 3384"/>
              <a:gd name="T110" fmla="*/ 1242 w 3010"/>
              <a:gd name="T111" fmla="*/ 1118 h 3384"/>
              <a:gd name="T112" fmla="*/ 1143 w 3010"/>
              <a:gd name="T113" fmla="*/ 334 h 3384"/>
              <a:gd name="T114" fmla="*/ 1275 w 3010"/>
              <a:gd name="T115" fmla="*/ 70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10" h="3384">
                <a:moveTo>
                  <a:pt x="2182" y="2426"/>
                </a:moveTo>
                <a:lnTo>
                  <a:pt x="2218" y="2428"/>
                </a:lnTo>
                <a:lnTo>
                  <a:pt x="2253" y="2438"/>
                </a:lnTo>
                <a:lnTo>
                  <a:pt x="2285" y="2451"/>
                </a:lnTo>
                <a:lnTo>
                  <a:pt x="2315" y="2468"/>
                </a:lnTo>
                <a:lnTo>
                  <a:pt x="2340" y="2490"/>
                </a:lnTo>
                <a:lnTo>
                  <a:pt x="2363" y="2515"/>
                </a:lnTo>
                <a:lnTo>
                  <a:pt x="2381" y="2544"/>
                </a:lnTo>
                <a:lnTo>
                  <a:pt x="2394" y="2576"/>
                </a:lnTo>
                <a:lnTo>
                  <a:pt x="2403" y="2610"/>
                </a:lnTo>
                <a:lnTo>
                  <a:pt x="2406" y="2645"/>
                </a:lnTo>
                <a:lnTo>
                  <a:pt x="2406" y="3047"/>
                </a:lnTo>
                <a:lnTo>
                  <a:pt x="2175" y="3047"/>
                </a:lnTo>
                <a:lnTo>
                  <a:pt x="2175" y="2631"/>
                </a:lnTo>
                <a:lnTo>
                  <a:pt x="2172" y="2589"/>
                </a:lnTo>
                <a:lnTo>
                  <a:pt x="2165" y="2548"/>
                </a:lnTo>
                <a:lnTo>
                  <a:pt x="2153" y="2509"/>
                </a:lnTo>
                <a:lnTo>
                  <a:pt x="2137" y="2471"/>
                </a:lnTo>
                <a:lnTo>
                  <a:pt x="2118" y="2435"/>
                </a:lnTo>
                <a:lnTo>
                  <a:pt x="2150" y="2428"/>
                </a:lnTo>
                <a:lnTo>
                  <a:pt x="2182" y="2426"/>
                </a:lnTo>
                <a:close/>
                <a:moveTo>
                  <a:pt x="224" y="2426"/>
                </a:moveTo>
                <a:lnTo>
                  <a:pt x="257" y="2428"/>
                </a:lnTo>
                <a:lnTo>
                  <a:pt x="287" y="2435"/>
                </a:lnTo>
                <a:lnTo>
                  <a:pt x="269" y="2471"/>
                </a:lnTo>
                <a:lnTo>
                  <a:pt x="253" y="2509"/>
                </a:lnTo>
                <a:lnTo>
                  <a:pt x="241" y="2548"/>
                </a:lnTo>
                <a:lnTo>
                  <a:pt x="234" y="2589"/>
                </a:lnTo>
                <a:lnTo>
                  <a:pt x="232" y="2631"/>
                </a:lnTo>
                <a:lnTo>
                  <a:pt x="232" y="3047"/>
                </a:lnTo>
                <a:lnTo>
                  <a:pt x="0" y="3047"/>
                </a:lnTo>
                <a:lnTo>
                  <a:pt x="0" y="2645"/>
                </a:lnTo>
                <a:lnTo>
                  <a:pt x="3" y="2610"/>
                </a:lnTo>
                <a:lnTo>
                  <a:pt x="11" y="2576"/>
                </a:lnTo>
                <a:lnTo>
                  <a:pt x="25" y="2544"/>
                </a:lnTo>
                <a:lnTo>
                  <a:pt x="44" y="2515"/>
                </a:lnTo>
                <a:lnTo>
                  <a:pt x="66" y="2490"/>
                </a:lnTo>
                <a:lnTo>
                  <a:pt x="92" y="2468"/>
                </a:lnTo>
                <a:lnTo>
                  <a:pt x="122" y="2450"/>
                </a:lnTo>
                <a:lnTo>
                  <a:pt x="154" y="2436"/>
                </a:lnTo>
                <a:lnTo>
                  <a:pt x="189" y="2428"/>
                </a:lnTo>
                <a:lnTo>
                  <a:pt x="224" y="2426"/>
                </a:lnTo>
                <a:close/>
                <a:moveTo>
                  <a:pt x="1776" y="2314"/>
                </a:moveTo>
                <a:lnTo>
                  <a:pt x="1820" y="2318"/>
                </a:lnTo>
                <a:lnTo>
                  <a:pt x="1862" y="2326"/>
                </a:lnTo>
                <a:lnTo>
                  <a:pt x="1902" y="2339"/>
                </a:lnTo>
                <a:lnTo>
                  <a:pt x="1940" y="2358"/>
                </a:lnTo>
                <a:lnTo>
                  <a:pt x="1975" y="2380"/>
                </a:lnTo>
                <a:lnTo>
                  <a:pt x="2005" y="2408"/>
                </a:lnTo>
                <a:lnTo>
                  <a:pt x="2032" y="2438"/>
                </a:lnTo>
                <a:lnTo>
                  <a:pt x="2055" y="2471"/>
                </a:lnTo>
                <a:lnTo>
                  <a:pt x="2074" y="2508"/>
                </a:lnTo>
                <a:lnTo>
                  <a:pt x="2089" y="2547"/>
                </a:lnTo>
                <a:lnTo>
                  <a:pt x="2097" y="2588"/>
                </a:lnTo>
                <a:lnTo>
                  <a:pt x="2101" y="2631"/>
                </a:lnTo>
                <a:lnTo>
                  <a:pt x="2101" y="3201"/>
                </a:lnTo>
                <a:lnTo>
                  <a:pt x="1747" y="3201"/>
                </a:lnTo>
                <a:lnTo>
                  <a:pt x="1747" y="2569"/>
                </a:lnTo>
                <a:lnTo>
                  <a:pt x="1744" y="2517"/>
                </a:lnTo>
                <a:lnTo>
                  <a:pt x="1735" y="2467"/>
                </a:lnTo>
                <a:lnTo>
                  <a:pt x="1723" y="2420"/>
                </a:lnTo>
                <a:lnTo>
                  <a:pt x="1706" y="2373"/>
                </a:lnTo>
                <a:lnTo>
                  <a:pt x="1686" y="2329"/>
                </a:lnTo>
                <a:lnTo>
                  <a:pt x="1714" y="2322"/>
                </a:lnTo>
                <a:lnTo>
                  <a:pt x="1745" y="2317"/>
                </a:lnTo>
                <a:lnTo>
                  <a:pt x="1776" y="2314"/>
                </a:lnTo>
                <a:close/>
                <a:moveTo>
                  <a:pt x="630" y="2314"/>
                </a:moveTo>
                <a:lnTo>
                  <a:pt x="661" y="2317"/>
                </a:lnTo>
                <a:lnTo>
                  <a:pt x="691" y="2322"/>
                </a:lnTo>
                <a:lnTo>
                  <a:pt x="721" y="2330"/>
                </a:lnTo>
                <a:lnTo>
                  <a:pt x="700" y="2374"/>
                </a:lnTo>
                <a:lnTo>
                  <a:pt x="682" y="2420"/>
                </a:lnTo>
                <a:lnTo>
                  <a:pt x="669" y="2468"/>
                </a:lnTo>
                <a:lnTo>
                  <a:pt x="661" y="2517"/>
                </a:lnTo>
                <a:lnTo>
                  <a:pt x="659" y="2569"/>
                </a:lnTo>
                <a:lnTo>
                  <a:pt x="659" y="3201"/>
                </a:lnTo>
                <a:lnTo>
                  <a:pt x="306" y="3201"/>
                </a:lnTo>
                <a:lnTo>
                  <a:pt x="306" y="2631"/>
                </a:lnTo>
                <a:lnTo>
                  <a:pt x="309" y="2588"/>
                </a:lnTo>
                <a:lnTo>
                  <a:pt x="318" y="2547"/>
                </a:lnTo>
                <a:lnTo>
                  <a:pt x="332" y="2508"/>
                </a:lnTo>
                <a:lnTo>
                  <a:pt x="350" y="2471"/>
                </a:lnTo>
                <a:lnTo>
                  <a:pt x="373" y="2438"/>
                </a:lnTo>
                <a:lnTo>
                  <a:pt x="401" y="2408"/>
                </a:lnTo>
                <a:lnTo>
                  <a:pt x="431" y="2380"/>
                </a:lnTo>
                <a:lnTo>
                  <a:pt x="466" y="2358"/>
                </a:lnTo>
                <a:lnTo>
                  <a:pt x="504" y="2339"/>
                </a:lnTo>
                <a:lnTo>
                  <a:pt x="543" y="2326"/>
                </a:lnTo>
                <a:lnTo>
                  <a:pt x="585" y="2318"/>
                </a:lnTo>
                <a:lnTo>
                  <a:pt x="630" y="2314"/>
                </a:lnTo>
                <a:close/>
                <a:moveTo>
                  <a:pt x="1203" y="2109"/>
                </a:moveTo>
                <a:lnTo>
                  <a:pt x="1258" y="2112"/>
                </a:lnTo>
                <a:lnTo>
                  <a:pt x="1310" y="2122"/>
                </a:lnTo>
                <a:lnTo>
                  <a:pt x="1362" y="2136"/>
                </a:lnTo>
                <a:lnTo>
                  <a:pt x="1410" y="2157"/>
                </a:lnTo>
                <a:lnTo>
                  <a:pt x="1455" y="2181"/>
                </a:lnTo>
                <a:lnTo>
                  <a:pt x="1497" y="2211"/>
                </a:lnTo>
                <a:lnTo>
                  <a:pt x="1535" y="2244"/>
                </a:lnTo>
                <a:lnTo>
                  <a:pt x="1570" y="2282"/>
                </a:lnTo>
                <a:lnTo>
                  <a:pt x="1600" y="2323"/>
                </a:lnTo>
                <a:lnTo>
                  <a:pt x="1625" y="2367"/>
                </a:lnTo>
                <a:lnTo>
                  <a:pt x="1646" y="2414"/>
                </a:lnTo>
                <a:lnTo>
                  <a:pt x="1661" y="2463"/>
                </a:lnTo>
                <a:lnTo>
                  <a:pt x="1670" y="2515"/>
                </a:lnTo>
                <a:lnTo>
                  <a:pt x="1674" y="2569"/>
                </a:lnTo>
                <a:lnTo>
                  <a:pt x="1674" y="3384"/>
                </a:lnTo>
                <a:lnTo>
                  <a:pt x="733" y="3384"/>
                </a:lnTo>
                <a:lnTo>
                  <a:pt x="733" y="2569"/>
                </a:lnTo>
                <a:lnTo>
                  <a:pt x="737" y="2515"/>
                </a:lnTo>
                <a:lnTo>
                  <a:pt x="746" y="2463"/>
                </a:lnTo>
                <a:lnTo>
                  <a:pt x="761" y="2414"/>
                </a:lnTo>
                <a:lnTo>
                  <a:pt x="781" y="2367"/>
                </a:lnTo>
                <a:lnTo>
                  <a:pt x="807" y="2323"/>
                </a:lnTo>
                <a:lnTo>
                  <a:pt x="836" y="2282"/>
                </a:lnTo>
                <a:lnTo>
                  <a:pt x="871" y="2244"/>
                </a:lnTo>
                <a:lnTo>
                  <a:pt x="910" y="2211"/>
                </a:lnTo>
                <a:lnTo>
                  <a:pt x="952" y="2181"/>
                </a:lnTo>
                <a:lnTo>
                  <a:pt x="997" y="2157"/>
                </a:lnTo>
                <a:lnTo>
                  <a:pt x="1045" y="2136"/>
                </a:lnTo>
                <a:lnTo>
                  <a:pt x="1095" y="2122"/>
                </a:lnTo>
                <a:lnTo>
                  <a:pt x="1149" y="2112"/>
                </a:lnTo>
                <a:lnTo>
                  <a:pt x="1203" y="2109"/>
                </a:lnTo>
                <a:close/>
                <a:moveTo>
                  <a:pt x="2182" y="2085"/>
                </a:moveTo>
                <a:lnTo>
                  <a:pt x="2210" y="2087"/>
                </a:lnTo>
                <a:lnTo>
                  <a:pt x="2235" y="2095"/>
                </a:lnTo>
                <a:lnTo>
                  <a:pt x="2258" y="2107"/>
                </a:lnTo>
                <a:lnTo>
                  <a:pt x="2278" y="2124"/>
                </a:lnTo>
                <a:lnTo>
                  <a:pt x="2295" y="2143"/>
                </a:lnTo>
                <a:lnTo>
                  <a:pt x="2307" y="2166"/>
                </a:lnTo>
                <a:lnTo>
                  <a:pt x="2315" y="2190"/>
                </a:lnTo>
                <a:lnTo>
                  <a:pt x="2318" y="2217"/>
                </a:lnTo>
                <a:lnTo>
                  <a:pt x="2315" y="2244"/>
                </a:lnTo>
                <a:lnTo>
                  <a:pt x="2307" y="2269"/>
                </a:lnTo>
                <a:lnTo>
                  <a:pt x="2295" y="2292"/>
                </a:lnTo>
                <a:lnTo>
                  <a:pt x="2278" y="2311"/>
                </a:lnTo>
                <a:lnTo>
                  <a:pt x="2258" y="2328"/>
                </a:lnTo>
                <a:lnTo>
                  <a:pt x="2235" y="2340"/>
                </a:lnTo>
                <a:lnTo>
                  <a:pt x="2210" y="2348"/>
                </a:lnTo>
                <a:lnTo>
                  <a:pt x="2182" y="2350"/>
                </a:lnTo>
                <a:lnTo>
                  <a:pt x="2155" y="2348"/>
                </a:lnTo>
                <a:lnTo>
                  <a:pt x="2129" y="2340"/>
                </a:lnTo>
                <a:lnTo>
                  <a:pt x="2106" y="2328"/>
                </a:lnTo>
                <a:lnTo>
                  <a:pt x="2086" y="2311"/>
                </a:lnTo>
                <a:lnTo>
                  <a:pt x="2069" y="2292"/>
                </a:lnTo>
                <a:lnTo>
                  <a:pt x="2056" y="2269"/>
                </a:lnTo>
                <a:lnTo>
                  <a:pt x="2048" y="2244"/>
                </a:lnTo>
                <a:lnTo>
                  <a:pt x="2045" y="2217"/>
                </a:lnTo>
                <a:lnTo>
                  <a:pt x="2048" y="2190"/>
                </a:lnTo>
                <a:lnTo>
                  <a:pt x="2056" y="2166"/>
                </a:lnTo>
                <a:lnTo>
                  <a:pt x="2069" y="2143"/>
                </a:lnTo>
                <a:lnTo>
                  <a:pt x="2086" y="2124"/>
                </a:lnTo>
                <a:lnTo>
                  <a:pt x="2106" y="2107"/>
                </a:lnTo>
                <a:lnTo>
                  <a:pt x="2129" y="2095"/>
                </a:lnTo>
                <a:lnTo>
                  <a:pt x="2155" y="2087"/>
                </a:lnTo>
                <a:lnTo>
                  <a:pt x="2182" y="2085"/>
                </a:lnTo>
                <a:close/>
                <a:moveTo>
                  <a:pt x="224" y="2085"/>
                </a:moveTo>
                <a:lnTo>
                  <a:pt x="252" y="2087"/>
                </a:lnTo>
                <a:lnTo>
                  <a:pt x="277" y="2095"/>
                </a:lnTo>
                <a:lnTo>
                  <a:pt x="300" y="2107"/>
                </a:lnTo>
                <a:lnTo>
                  <a:pt x="320" y="2124"/>
                </a:lnTo>
                <a:lnTo>
                  <a:pt x="337" y="2143"/>
                </a:lnTo>
                <a:lnTo>
                  <a:pt x="349" y="2166"/>
                </a:lnTo>
                <a:lnTo>
                  <a:pt x="358" y="2190"/>
                </a:lnTo>
                <a:lnTo>
                  <a:pt x="360" y="2217"/>
                </a:lnTo>
                <a:lnTo>
                  <a:pt x="358" y="2244"/>
                </a:lnTo>
                <a:lnTo>
                  <a:pt x="349" y="2269"/>
                </a:lnTo>
                <a:lnTo>
                  <a:pt x="337" y="2292"/>
                </a:lnTo>
                <a:lnTo>
                  <a:pt x="320" y="2311"/>
                </a:lnTo>
                <a:lnTo>
                  <a:pt x="300" y="2328"/>
                </a:lnTo>
                <a:lnTo>
                  <a:pt x="277" y="2340"/>
                </a:lnTo>
                <a:lnTo>
                  <a:pt x="252" y="2348"/>
                </a:lnTo>
                <a:lnTo>
                  <a:pt x="224" y="2350"/>
                </a:lnTo>
                <a:lnTo>
                  <a:pt x="197" y="2348"/>
                </a:lnTo>
                <a:lnTo>
                  <a:pt x="172" y="2340"/>
                </a:lnTo>
                <a:lnTo>
                  <a:pt x="149" y="2328"/>
                </a:lnTo>
                <a:lnTo>
                  <a:pt x="128" y="2311"/>
                </a:lnTo>
                <a:lnTo>
                  <a:pt x="112" y="2292"/>
                </a:lnTo>
                <a:lnTo>
                  <a:pt x="100" y="2269"/>
                </a:lnTo>
                <a:lnTo>
                  <a:pt x="91" y="2244"/>
                </a:lnTo>
                <a:lnTo>
                  <a:pt x="88" y="2217"/>
                </a:lnTo>
                <a:lnTo>
                  <a:pt x="91" y="2190"/>
                </a:lnTo>
                <a:lnTo>
                  <a:pt x="100" y="2166"/>
                </a:lnTo>
                <a:lnTo>
                  <a:pt x="112" y="2143"/>
                </a:lnTo>
                <a:lnTo>
                  <a:pt x="128" y="2124"/>
                </a:lnTo>
                <a:lnTo>
                  <a:pt x="149" y="2107"/>
                </a:lnTo>
                <a:lnTo>
                  <a:pt x="172" y="2095"/>
                </a:lnTo>
                <a:lnTo>
                  <a:pt x="197" y="2087"/>
                </a:lnTo>
                <a:lnTo>
                  <a:pt x="224" y="2085"/>
                </a:lnTo>
                <a:close/>
                <a:moveTo>
                  <a:pt x="1776" y="1842"/>
                </a:moveTo>
                <a:lnTo>
                  <a:pt x="1813" y="1845"/>
                </a:lnTo>
                <a:lnTo>
                  <a:pt x="1848" y="1854"/>
                </a:lnTo>
                <a:lnTo>
                  <a:pt x="1879" y="1869"/>
                </a:lnTo>
                <a:lnTo>
                  <a:pt x="1907" y="1889"/>
                </a:lnTo>
                <a:lnTo>
                  <a:pt x="1932" y="1912"/>
                </a:lnTo>
                <a:lnTo>
                  <a:pt x="1952" y="1940"/>
                </a:lnTo>
                <a:lnTo>
                  <a:pt x="1967" y="1971"/>
                </a:lnTo>
                <a:lnTo>
                  <a:pt x="1977" y="2005"/>
                </a:lnTo>
                <a:lnTo>
                  <a:pt x="1980" y="2040"/>
                </a:lnTo>
                <a:lnTo>
                  <a:pt x="1977" y="2076"/>
                </a:lnTo>
                <a:lnTo>
                  <a:pt x="1967" y="2109"/>
                </a:lnTo>
                <a:lnTo>
                  <a:pt x="1952" y="2140"/>
                </a:lnTo>
                <a:lnTo>
                  <a:pt x="1932" y="2168"/>
                </a:lnTo>
                <a:lnTo>
                  <a:pt x="1907" y="2191"/>
                </a:lnTo>
                <a:lnTo>
                  <a:pt x="1879" y="2211"/>
                </a:lnTo>
                <a:lnTo>
                  <a:pt x="1848" y="2226"/>
                </a:lnTo>
                <a:lnTo>
                  <a:pt x="1813" y="2235"/>
                </a:lnTo>
                <a:lnTo>
                  <a:pt x="1776" y="2239"/>
                </a:lnTo>
                <a:lnTo>
                  <a:pt x="1741" y="2235"/>
                </a:lnTo>
                <a:lnTo>
                  <a:pt x="1706" y="2226"/>
                </a:lnTo>
                <a:lnTo>
                  <a:pt x="1675" y="2211"/>
                </a:lnTo>
                <a:lnTo>
                  <a:pt x="1646" y="2191"/>
                </a:lnTo>
                <a:lnTo>
                  <a:pt x="1622" y="2168"/>
                </a:lnTo>
                <a:lnTo>
                  <a:pt x="1602" y="2140"/>
                </a:lnTo>
                <a:lnTo>
                  <a:pt x="1586" y="2109"/>
                </a:lnTo>
                <a:lnTo>
                  <a:pt x="1577" y="2076"/>
                </a:lnTo>
                <a:lnTo>
                  <a:pt x="1574" y="2040"/>
                </a:lnTo>
                <a:lnTo>
                  <a:pt x="1577" y="2005"/>
                </a:lnTo>
                <a:lnTo>
                  <a:pt x="1586" y="1971"/>
                </a:lnTo>
                <a:lnTo>
                  <a:pt x="1602" y="1940"/>
                </a:lnTo>
                <a:lnTo>
                  <a:pt x="1622" y="1912"/>
                </a:lnTo>
                <a:lnTo>
                  <a:pt x="1646" y="1889"/>
                </a:lnTo>
                <a:lnTo>
                  <a:pt x="1675" y="1869"/>
                </a:lnTo>
                <a:lnTo>
                  <a:pt x="1706" y="1854"/>
                </a:lnTo>
                <a:lnTo>
                  <a:pt x="1741" y="1845"/>
                </a:lnTo>
                <a:lnTo>
                  <a:pt x="1776" y="1842"/>
                </a:lnTo>
                <a:close/>
                <a:moveTo>
                  <a:pt x="630" y="1842"/>
                </a:moveTo>
                <a:lnTo>
                  <a:pt x="666" y="1845"/>
                </a:lnTo>
                <a:lnTo>
                  <a:pt x="700" y="1854"/>
                </a:lnTo>
                <a:lnTo>
                  <a:pt x="731" y="1869"/>
                </a:lnTo>
                <a:lnTo>
                  <a:pt x="760" y="1889"/>
                </a:lnTo>
                <a:lnTo>
                  <a:pt x="785" y="1912"/>
                </a:lnTo>
                <a:lnTo>
                  <a:pt x="805" y="1940"/>
                </a:lnTo>
                <a:lnTo>
                  <a:pt x="819" y="1971"/>
                </a:lnTo>
                <a:lnTo>
                  <a:pt x="829" y="2005"/>
                </a:lnTo>
                <a:lnTo>
                  <a:pt x="832" y="2040"/>
                </a:lnTo>
                <a:lnTo>
                  <a:pt x="829" y="2076"/>
                </a:lnTo>
                <a:lnTo>
                  <a:pt x="819" y="2109"/>
                </a:lnTo>
                <a:lnTo>
                  <a:pt x="805" y="2140"/>
                </a:lnTo>
                <a:lnTo>
                  <a:pt x="785" y="2168"/>
                </a:lnTo>
                <a:lnTo>
                  <a:pt x="760" y="2191"/>
                </a:lnTo>
                <a:lnTo>
                  <a:pt x="731" y="2211"/>
                </a:lnTo>
                <a:lnTo>
                  <a:pt x="700" y="2226"/>
                </a:lnTo>
                <a:lnTo>
                  <a:pt x="666" y="2235"/>
                </a:lnTo>
                <a:lnTo>
                  <a:pt x="630" y="2239"/>
                </a:lnTo>
                <a:lnTo>
                  <a:pt x="593" y="2235"/>
                </a:lnTo>
                <a:lnTo>
                  <a:pt x="559" y="2226"/>
                </a:lnTo>
                <a:lnTo>
                  <a:pt x="528" y="2211"/>
                </a:lnTo>
                <a:lnTo>
                  <a:pt x="499" y="2191"/>
                </a:lnTo>
                <a:lnTo>
                  <a:pt x="474" y="2168"/>
                </a:lnTo>
                <a:lnTo>
                  <a:pt x="454" y="2140"/>
                </a:lnTo>
                <a:lnTo>
                  <a:pt x="440" y="2109"/>
                </a:lnTo>
                <a:lnTo>
                  <a:pt x="430" y="2076"/>
                </a:lnTo>
                <a:lnTo>
                  <a:pt x="427" y="2040"/>
                </a:lnTo>
                <a:lnTo>
                  <a:pt x="430" y="2005"/>
                </a:lnTo>
                <a:lnTo>
                  <a:pt x="440" y="1971"/>
                </a:lnTo>
                <a:lnTo>
                  <a:pt x="454" y="1940"/>
                </a:lnTo>
                <a:lnTo>
                  <a:pt x="474" y="1912"/>
                </a:lnTo>
                <a:lnTo>
                  <a:pt x="499" y="1889"/>
                </a:lnTo>
                <a:lnTo>
                  <a:pt x="528" y="1869"/>
                </a:lnTo>
                <a:lnTo>
                  <a:pt x="559" y="1854"/>
                </a:lnTo>
                <a:lnTo>
                  <a:pt x="593" y="1845"/>
                </a:lnTo>
                <a:lnTo>
                  <a:pt x="630" y="1842"/>
                </a:lnTo>
                <a:close/>
                <a:moveTo>
                  <a:pt x="1203" y="1446"/>
                </a:moveTo>
                <a:lnTo>
                  <a:pt x="1248" y="1450"/>
                </a:lnTo>
                <a:lnTo>
                  <a:pt x="1289" y="1459"/>
                </a:lnTo>
                <a:lnTo>
                  <a:pt x="1329" y="1474"/>
                </a:lnTo>
                <a:lnTo>
                  <a:pt x="1366" y="1493"/>
                </a:lnTo>
                <a:lnTo>
                  <a:pt x="1400" y="1519"/>
                </a:lnTo>
                <a:lnTo>
                  <a:pt x="1429" y="1547"/>
                </a:lnTo>
                <a:lnTo>
                  <a:pt x="1454" y="1580"/>
                </a:lnTo>
                <a:lnTo>
                  <a:pt x="1475" y="1616"/>
                </a:lnTo>
                <a:lnTo>
                  <a:pt x="1490" y="1655"/>
                </a:lnTo>
                <a:lnTo>
                  <a:pt x="1499" y="1696"/>
                </a:lnTo>
                <a:lnTo>
                  <a:pt x="1502" y="1739"/>
                </a:lnTo>
                <a:lnTo>
                  <a:pt x="1499" y="1782"/>
                </a:lnTo>
                <a:lnTo>
                  <a:pt x="1490" y="1823"/>
                </a:lnTo>
                <a:lnTo>
                  <a:pt x="1475" y="1862"/>
                </a:lnTo>
                <a:lnTo>
                  <a:pt x="1454" y="1898"/>
                </a:lnTo>
                <a:lnTo>
                  <a:pt x="1429" y="1931"/>
                </a:lnTo>
                <a:lnTo>
                  <a:pt x="1400" y="1960"/>
                </a:lnTo>
                <a:lnTo>
                  <a:pt x="1366" y="1985"/>
                </a:lnTo>
                <a:lnTo>
                  <a:pt x="1329" y="2005"/>
                </a:lnTo>
                <a:lnTo>
                  <a:pt x="1289" y="2020"/>
                </a:lnTo>
                <a:lnTo>
                  <a:pt x="1248" y="2029"/>
                </a:lnTo>
                <a:lnTo>
                  <a:pt x="1203" y="2032"/>
                </a:lnTo>
                <a:lnTo>
                  <a:pt x="1158" y="2029"/>
                </a:lnTo>
                <a:lnTo>
                  <a:pt x="1116" y="2020"/>
                </a:lnTo>
                <a:lnTo>
                  <a:pt x="1076" y="2005"/>
                </a:lnTo>
                <a:lnTo>
                  <a:pt x="1040" y="1985"/>
                </a:lnTo>
                <a:lnTo>
                  <a:pt x="1006" y="1960"/>
                </a:lnTo>
                <a:lnTo>
                  <a:pt x="977" y="1931"/>
                </a:lnTo>
                <a:lnTo>
                  <a:pt x="952" y="1898"/>
                </a:lnTo>
                <a:lnTo>
                  <a:pt x="932" y="1862"/>
                </a:lnTo>
                <a:lnTo>
                  <a:pt x="916" y="1823"/>
                </a:lnTo>
                <a:lnTo>
                  <a:pt x="907" y="1782"/>
                </a:lnTo>
                <a:lnTo>
                  <a:pt x="903" y="1739"/>
                </a:lnTo>
                <a:lnTo>
                  <a:pt x="907" y="1696"/>
                </a:lnTo>
                <a:lnTo>
                  <a:pt x="916" y="1655"/>
                </a:lnTo>
                <a:lnTo>
                  <a:pt x="932" y="1616"/>
                </a:lnTo>
                <a:lnTo>
                  <a:pt x="952" y="1580"/>
                </a:lnTo>
                <a:lnTo>
                  <a:pt x="977" y="1547"/>
                </a:lnTo>
                <a:lnTo>
                  <a:pt x="1006" y="1519"/>
                </a:lnTo>
                <a:lnTo>
                  <a:pt x="1040" y="1493"/>
                </a:lnTo>
                <a:lnTo>
                  <a:pt x="1076" y="1474"/>
                </a:lnTo>
                <a:lnTo>
                  <a:pt x="1116" y="1459"/>
                </a:lnTo>
                <a:lnTo>
                  <a:pt x="1158" y="1450"/>
                </a:lnTo>
                <a:lnTo>
                  <a:pt x="1203" y="1446"/>
                </a:lnTo>
                <a:close/>
                <a:moveTo>
                  <a:pt x="1484" y="120"/>
                </a:moveTo>
                <a:lnTo>
                  <a:pt x="1448" y="123"/>
                </a:lnTo>
                <a:lnTo>
                  <a:pt x="1414" y="131"/>
                </a:lnTo>
                <a:lnTo>
                  <a:pt x="1383" y="144"/>
                </a:lnTo>
                <a:lnTo>
                  <a:pt x="1355" y="161"/>
                </a:lnTo>
                <a:lnTo>
                  <a:pt x="1328" y="183"/>
                </a:lnTo>
                <a:lnTo>
                  <a:pt x="1306" y="208"/>
                </a:lnTo>
                <a:lnTo>
                  <a:pt x="1288" y="236"/>
                </a:lnTo>
                <a:lnTo>
                  <a:pt x="1275" y="267"/>
                </a:lnTo>
                <a:lnTo>
                  <a:pt x="1266" y="299"/>
                </a:lnTo>
                <a:lnTo>
                  <a:pt x="1264" y="334"/>
                </a:lnTo>
                <a:lnTo>
                  <a:pt x="1264" y="882"/>
                </a:lnTo>
                <a:lnTo>
                  <a:pt x="1266" y="917"/>
                </a:lnTo>
                <a:lnTo>
                  <a:pt x="1275" y="950"/>
                </a:lnTo>
                <a:lnTo>
                  <a:pt x="1288" y="980"/>
                </a:lnTo>
                <a:lnTo>
                  <a:pt x="1306" y="1009"/>
                </a:lnTo>
                <a:lnTo>
                  <a:pt x="1328" y="1034"/>
                </a:lnTo>
                <a:lnTo>
                  <a:pt x="1355" y="1055"/>
                </a:lnTo>
                <a:lnTo>
                  <a:pt x="1383" y="1073"/>
                </a:lnTo>
                <a:lnTo>
                  <a:pt x="1414" y="1086"/>
                </a:lnTo>
                <a:lnTo>
                  <a:pt x="1448" y="1094"/>
                </a:lnTo>
                <a:lnTo>
                  <a:pt x="1484" y="1097"/>
                </a:lnTo>
                <a:lnTo>
                  <a:pt x="1728" y="1097"/>
                </a:lnTo>
                <a:lnTo>
                  <a:pt x="1728" y="1365"/>
                </a:lnTo>
                <a:lnTo>
                  <a:pt x="2002" y="1097"/>
                </a:lnTo>
                <a:lnTo>
                  <a:pt x="2668" y="1097"/>
                </a:lnTo>
                <a:lnTo>
                  <a:pt x="2704" y="1094"/>
                </a:lnTo>
                <a:lnTo>
                  <a:pt x="2737" y="1086"/>
                </a:lnTo>
                <a:lnTo>
                  <a:pt x="2769" y="1073"/>
                </a:lnTo>
                <a:lnTo>
                  <a:pt x="2797" y="1055"/>
                </a:lnTo>
                <a:lnTo>
                  <a:pt x="2822" y="1034"/>
                </a:lnTo>
                <a:lnTo>
                  <a:pt x="2844" y="1009"/>
                </a:lnTo>
                <a:lnTo>
                  <a:pt x="2862" y="980"/>
                </a:lnTo>
                <a:lnTo>
                  <a:pt x="2876" y="950"/>
                </a:lnTo>
                <a:lnTo>
                  <a:pt x="2884" y="917"/>
                </a:lnTo>
                <a:lnTo>
                  <a:pt x="2888" y="882"/>
                </a:lnTo>
                <a:lnTo>
                  <a:pt x="2888" y="334"/>
                </a:lnTo>
                <a:lnTo>
                  <a:pt x="2884" y="299"/>
                </a:lnTo>
                <a:lnTo>
                  <a:pt x="2876" y="267"/>
                </a:lnTo>
                <a:lnTo>
                  <a:pt x="2862" y="236"/>
                </a:lnTo>
                <a:lnTo>
                  <a:pt x="2844" y="208"/>
                </a:lnTo>
                <a:lnTo>
                  <a:pt x="2822" y="183"/>
                </a:lnTo>
                <a:lnTo>
                  <a:pt x="2797" y="161"/>
                </a:lnTo>
                <a:lnTo>
                  <a:pt x="2769" y="144"/>
                </a:lnTo>
                <a:lnTo>
                  <a:pt x="2737" y="131"/>
                </a:lnTo>
                <a:lnTo>
                  <a:pt x="2704" y="123"/>
                </a:lnTo>
                <a:lnTo>
                  <a:pt x="2668" y="120"/>
                </a:lnTo>
                <a:lnTo>
                  <a:pt x="1484" y="120"/>
                </a:lnTo>
                <a:close/>
                <a:moveTo>
                  <a:pt x="1484" y="0"/>
                </a:moveTo>
                <a:lnTo>
                  <a:pt x="2668" y="0"/>
                </a:lnTo>
                <a:lnTo>
                  <a:pt x="2714" y="3"/>
                </a:lnTo>
                <a:lnTo>
                  <a:pt x="2759" y="12"/>
                </a:lnTo>
                <a:lnTo>
                  <a:pt x="2801" y="27"/>
                </a:lnTo>
                <a:lnTo>
                  <a:pt x="2840" y="46"/>
                </a:lnTo>
                <a:lnTo>
                  <a:pt x="2877" y="70"/>
                </a:lnTo>
                <a:lnTo>
                  <a:pt x="2910" y="97"/>
                </a:lnTo>
                <a:lnTo>
                  <a:pt x="2939" y="130"/>
                </a:lnTo>
                <a:lnTo>
                  <a:pt x="2963" y="165"/>
                </a:lnTo>
                <a:lnTo>
                  <a:pt x="2983" y="204"/>
                </a:lnTo>
                <a:lnTo>
                  <a:pt x="2998" y="245"/>
                </a:lnTo>
                <a:lnTo>
                  <a:pt x="3007" y="288"/>
                </a:lnTo>
                <a:lnTo>
                  <a:pt x="3010" y="334"/>
                </a:lnTo>
                <a:lnTo>
                  <a:pt x="3010" y="882"/>
                </a:lnTo>
                <a:lnTo>
                  <a:pt x="3007" y="928"/>
                </a:lnTo>
                <a:lnTo>
                  <a:pt x="2998" y="971"/>
                </a:lnTo>
                <a:lnTo>
                  <a:pt x="2983" y="1012"/>
                </a:lnTo>
                <a:lnTo>
                  <a:pt x="2963" y="1051"/>
                </a:lnTo>
                <a:lnTo>
                  <a:pt x="2939" y="1086"/>
                </a:lnTo>
                <a:lnTo>
                  <a:pt x="2910" y="1118"/>
                </a:lnTo>
                <a:lnTo>
                  <a:pt x="2877" y="1146"/>
                </a:lnTo>
                <a:lnTo>
                  <a:pt x="2840" y="1170"/>
                </a:lnTo>
                <a:lnTo>
                  <a:pt x="2801" y="1190"/>
                </a:lnTo>
                <a:lnTo>
                  <a:pt x="2759" y="1204"/>
                </a:lnTo>
                <a:lnTo>
                  <a:pt x="2714" y="1213"/>
                </a:lnTo>
                <a:lnTo>
                  <a:pt x="2668" y="1216"/>
                </a:lnTo>
                <a:lnTo>
                  <a:pt x="2053" y="1216"/>
                </a:lnTo>
                <a:lnTo>
                  <a:pt x="1604" y="1654"/>
                </a:lnTo>
                <a:lnTo>
                  <a:pt x="1604" y="1216"/>
                </a:lnTo>
                <a:lnTo>
                  <a:pt x="1484" y="1216"/>
                </a:lnTo>
                <a:lnTo>
                  <a:pt x="1437" y="1213"/>
                </a:lnTo>
                <a:lnTo>
                  <a:pt x="1393" y="1204"/>
                </a:lnTo>
                <a:lnTo>
                  <a:pt x="1351" y="1190"/>
                </a:lnTo>
                <a:lnTo>
                  <a:pt x="1312" y="1170"/>
                </a:lnTo>
                <a:lnTo>
                  <a:pt x="1275" y="1146"/>
                </a:lnTo>
                <a:lnTo>
                  <a:pt x="1242" y="1118"/>
                </a:lnTo>
                <a:lnTo>
                  <a:pt x="1214" y="1086"/>
                </a:lnTo>
                <a:lnTo>
                  <a:pt x="1189" y="1051"/>
                </a:lnTo>
                <a:lnTo>
                  <a:pt x="1169" y="1012"/>
                </a:lnTo>
                <a:lnTo>
                  <a:pt x="1154" y="971"/>
                </a:lnTo>
                <a:lnTo>
                  <a:pt x="1146" y="928"/>
                </a:lnTo>
                <a:lnTo>
                  <a:pt x="1143" y="882"/>
                </a:lnTo>
                <a:lnTo>
                  <a:pt x="1143" y="334"/>
                </a:lnTo>
                <a:lnTo>
                  <a:pt x="1145" y="288"/>
                </a:lnTo>
                <a:lnTo>
                  <a:pt x="1154" y="245"/>
                </a:lnTo>
                <a:lnTo>
                  <a:pt x="1169" y="204"/>
                </a:lnTo>
                <a:lnTo>
                  <a:pt x="1189" y="165"/>
                </a:lnTo>
                <a:lnTo>
                  <a:pt x="1213" y="130"/>
                </a:lnTo>
                <a:lnTo>
                  <a:pt x="1242" y="97"/>
                </a:lnTo>
                <a:lnTo>
                  <a:pt x="1275" y="70"/>
                </a:lnTo>
                <a:lnTo>
                  <a:pt x="1312" y="46"/>
                </a:lnTo>
                <a:lnTo>
                  <a:pt x="1350" y="27"/>
                </a:lnTo>
                <a:lnTo>
                  <a:pt x="1393" y="12"/>
                </a:lnTo>
                <a:lnTo>
                  <a:pt x="1437" y="3"/>
                </a:lnTo>
                <a:lnTo>
                  <a:pt x="148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nvGrpSpPr>
          <p:cNvPr id="27" name="Group 26">
            <a:extLst>
              <a:ext uri="{FF2B5EF4-FFF2-40B4-BE49-F238E27FC236}">
                <a16:creationId xmlns:a16="http://schemas.microsoft.com/office/drawing/2014/main" id="{22F3E072-5545-45AE-96F3-3D8DE1CBFFB0}"/>
              </a:ext>
            </a:extLst>
          </p:cNvPr>
          <p:cNvGrpSpPr/>
          <p:nvPr/>
        </p:nvGrpSpPr>
        <p:grpSpPr>
          <a:xfrm>
            <a:off x="7459569" y="3618641"/>
            <a:ext cx="412510" cy="414876"/>
            <a:chOff x="-2292350" y="3246438"/>
            <a:chExt cx="2082800" cy="2092325"/>
          </a:xfrm>
          <a:solidFill>
            <a:schemeClr val="tx1"/>
          </a:solidFill>
        </p:grpSpPr>
        <p:sp>
          <p:nvSpPr>
            <p:cNvPr id="28" name="Freeform 125">
              <a:extLst>
                <a:ext uri="{FF2B5EF4-FFF2-40B4-BE49-F238E27FC236}">
                  <a16:creationId xmlns:a16="http://schemas.microsoft.com/office/drawing/2014/main" id="{0BC6ACCE-4DC5-313E-B7B3-7EF1E579F542}"/>
                </a:ext>
              </a:extLst>
            </p:cNvPr>
            <p:cNvSpPr>
              <a:spLocks/>
            </p:cNvSpPr>
            <p:nvPr/>
          </p:nvSpPr>
          <p:spPr bwMode="auto">
            <a:xfrm>
              <a:off x="-2292350" y="3457575"/>
              <a:ext cx="1881188" cy="1881188"/>
            </a:xfrm>
            <a:custGeom>
              <a:avLst/>
              <a:gdLst>
                <a:gd name="T0" fmla="*/ 1994 w 3554"/>
                <a:gd name="T1" fmla="*/ 14 h 3556"/>
                <a:gd name="T2" fmla="*/ 2305 w 3554"/>
                <a:gd name="T3" fmla="*/ 81 h 3556"/>
                <a:gd name="T4" fmla="*/ 2594 w 3554"/>
                <a:gd name="T5" fmla="*/ 198 h 3556"/>
                <a:gd name="T6" fmla="*/ 2613 w 3554"/>
                <a:gd name="T7" fmla="*/ 520 h 3556"/>
                <a:gd name="T8" fmla="*/ 2309 w 3554"/>
                <a:gd name="T9" fmla="*/ 584 h 3556"/>
                <a:gd name="T10" fmla="*/ 2053 w 3554"/>
                <a:gd name="T11" fmla="*/ 501 h 3556"/>
                <a:gd name="T12" fmla="*/ 1777 w 3554"/>
                <a:gd name="T13" fmla="*/ 471 h 3556"/>
                <a:gd name="T14" fmla="*/ 1491 w 3554"/>
                <a:gd name="T15" fmla="*/ 502 h 3556"/>
                <a:gd name="T16" fmla="*/ 1226 w 3554"/>
                <a:gd name="T17" fmla="*/ 592 h 3556"/>
                <a:gd name="T18" fmla="*/ 991 w 3554"/>
                <a:gd name="T19" fmla="*/ 734 h 3556"/>
                <a:gd name="T20" fmla="*/ 791 w 3554"/>
                <a:gd name="T21" fmla="*/ 920 h 3556"/>
                <a:gd name="T22" fmla="*/ 634 w 3554"/>
                <a:gd name="T23" fmla="*/ 1145 h 3556"/>
                <a:gd name="T24" fmla="*/ 526 w 3554"/>
                <a:gd name="T25" fmla="*/ 1401 h 3556"/>
                <a:gd name="T26" fmla="*/ 474 w 3554"/>
                <a:gd name="T27" fmla="*/ 1680 h 3556"/>
                <a:gd name="T28" fmla="*/ 485 w 3554"/>
                <a:gd name="T29" fmla="*/ 1971 h 3556"/>
                <a:gd name="T30" fmla="*/ 556 w 3554"/>
                <a:gd name="T31" fmla="*/ 2244 h 3556"/>
                <a:gd name="T32" fmla="*/ 681 w 3554"/>
                <a:gd name="T33" fmla="*/ 2490 h 3556"/>
                <a:gd name="T34" fmla="*/ 854 w 3554"/>
                <a:gd name="T35" fmla="*/ 2702 h 3556"/>
                <a:gd name="T36" fmla="*/ 1066 w 3554"/>
                <a:gd name="T37" fmla="*/ 2874 h 3556"/>
                <a:gd name="T38" fmla="*/ 1312 w 3554"/>
                <a:gd name="T39" fmla="*/ 2999 h 3556"/>
                <a:gd name="T40" fmla="*/ 1585 w 3554"/>
                <a:gd name="T41" fmla="*/ 3071 h 3556"/>
                <a:gd name="T42" fmla="*/ 1876 w 3554"/>
                <a:gd name="T43" fmla="*/ 3082 h 3556"/>
                <a:gd name="T44" fmla="*/ 2155 w 3554"/>
                <a:gd name="T45" fmla="*/ 3029 h 3556"/>
                <a:gd name="T46" fmla="*/ 2411 w 3554"/>
                <a:gd name="T47" fmla="*/ 2922 h 3556"/>
                <a:gd name="T48" fmla="*/ 2634 w 3554"/>
                <a:gd name="T49" fmla="*/ 2765 h 3556"/>
                <a:gd name="T50" fmla="*/ 2822 w 3554"/>
                <a:gd name="T51" fmla="*/ 2564 h 3556"/>
                <a:gd name="T52" fmla="*/ 2962 w 3554"/>
                <a:gd name="T53" fmla="*/ 2329 h 3556"/>
                <a:gd name="T54" fmla="*/ 3052 w 3554"/>
                <a:gd name="T55" fmla="*/ 2065 h 3556"/>
                <a:gd name="T56" fmla="*/ 3085 w 3554"/>
                <a:gd name="T57" fmla="*/ 1778 h 3556"/>
                <a:gd name="T58" fmla="*/ 3055 w 3554"/>
                <a:gd name="T59" fmla="*/ 1503 h 3556"/>
                <a:gd name="T60" fmla="*/ 2972 w 3554"/>
                <a:gd name="T61" fmla="*/ 1247 h 3556"/>
                <a:gd name="T62" fmla="*/ 3051 w 3554"/>
                <a:gd name="T63" fmla="*/ 927 h 3556"/>
                <a:gd name="T64" fmla="*/ 3325 w 3554"/>
                <a:gd name="T65" fmla="*/ 945 h 3556"/>
                <a:gd name="T66" fmla="*/ 3435 w 3554"/>
                <a:gd name="T67" fmla="*/ 1136 h 3556"/>
                <a:gd name="T68" fmla="*/ 3524 w 3554"/>
                <a:gd name="T69" fmla="*/ 1446 h 3556"/>
                <a:gd name="T70" fmla="*/ 3554 w 3554"/>
                <a:gd name="T71" fmla="*/ 1778 h 3556"/>
                <a:gd name="T72" fmla="*/ 3522 w 3554"/>
                <a:gd name="T73" fmla="*/ 2122 h 3556"/>
                <a:gd name="T74" fmla="*/ 3426 w 3554"/>
                <a:gd name="T75" fmla="*/ 2444 h 3556"/>
                <a:gd name="T76" fmla="*/ 3273 w 3554"/>
                <a:gd name="T77" fmla="*/ 2737 h 3556"/>
                <a:gd name="T78" fmla="*/ 3073 w 3554"/>
                <a:gd name="T79" fmla="*/ 2995 h 3556"/>
                <a:gd name="T80" fmla="*/ 2827 w 3554"/>
                <a:gd name="T81" fmla="*/ 3213 h 3556"/>
                <a:gd name="T82" fmla="*/ 2544 w 3554"/>
                <a:gd name="T83" fmla="*/ 3382 h 3556"/>
                <a:gd name="T84" fmla="*/ 2232 w 3554"/>
                <a:gd name="T85" fmla="*/ 3497 h 3556"/>
                <a:gd name="T86" fmla="*/ 1894 w 3554"/>
                <a:gd name="T87" fmla="*/ 3553 h 3556"/>
                <a:gd name="T88" fmla="*/ 1545 w 3554"/>
                <a:gd name="T89" fmla="*/ 3541 h 3556"/>
                <a:gd name="T90" fmla="*/ 1215 w 3554"/>
                <a:gd name="T91" fmla="*/ 3465 h 3556"/>
                <a:gd name="T92" fmla="*/ 911 w 3554"/>
                <a:gd name="T93" fmla="*/ 3332 h 3556"/>
                <a:gd name="T94" fmla="*/ 641 w 3554"/>
                <a:gd name="T95" fmla="*/ 3145 h 3556"/>
                <a:gd name="T96" fmla="*/ 409 w 3554"/>
                <a:gd name="T97" fmla="*/ 2914 h 3556"/>
                <a:gd name="T98" fmla="*/ 225 w 3554"/>
                <a:gd name="T99" fmla="*/ 2644 h 3556"/>
                <a:gd name="T100" fmla="*/ 90 w 3554"/>
                <a:gd name="T101" fmla="*/ 2340 h 3556"/>
                <a:gd name="T102" fmla="*/ 14 w 3554"/>
                <a:gd name="T103" fmla="*/ 2009 h 3556"/>
                <a:gd name="T104" fmla="*/ 0 w 3554"/>
                <a:gd name="T105" fmla="*/ 1778 h 3556"/>
                <a:gd name="T106" fmla="*/ 34 w 3554"/>
                <a:gd name="T107" fmla="*/ 1434 h 3556"/>
                <a:gd name="T108" fmla="*/ 128 w 3554"/>
                <a:gd name="T109" fmla="*/ 1111 h 3556"/>
                <a:gd name="T110" fmla="*/ 281 w 3554"/>
                <a:gd name="T111" fmla="*/ 818 h 3556"/>
                <a:gd name="T112" fmla="*/ 483 w 3554"/>
                <a:gd name="T113" fmla="*/ 560 h 3556"/>
                <a:gd name="T114" fmla="*/ 728 w 3554"/>
                <a:gd name="T115" fmla="*/ 344 h 3556"/>
                <a:gd name="T116" fmla="*/ 1010 w 3554"/>
                <a:gd name="T117" fmla="*/ 174 h 3556"/>
                <a:gd name="T118" fmla="*/ 1322 w 3554"/>
                <a:gd name="T119" fmla="*/ 59 h 3556"/>
                <a:gd name="T120" fmla="*/ 1659 w 3554"/>
                <a:gd name="T121" fmla="*/ 4 h 3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4" h="3556">
                  <a:moveTo>
                    <a:pt x="1777" y="0"/>
                  </a:moveTo>
                  <a:lnTo>
                    <a:pt x="1886" y="4"/>
                  </a:lnTo>
                  <a:lnTo>
                    <a:pt x="1994" y="14"/>
                  </a:lnTo>
                  <a:lnTo>
                    <a:pt x="2100" y="29"/>
                  </a:lnTo>
                  <a:lnTo>
                    <a:pt x="2203" y="52"/>
                  </a:lnTo>
                  <a:lnTo>
                    <a:pt x="2305" y="81"/>
                  </a:lnTo>
                  <a:lnTo>
                    <a:pt x="2404" y="114"/>
                  </a:lnTo>
                  <a:lnTo>
                    <a:pt x="2500" y="154"/>
                  </a:lnTo>
                  <a:lnTo>
                    <a:pt x="2594" y="198"/>
                  </a:lnTo>
                  <a:lnTo>
                    <a:pt x="2591" y="230"/>
                  </a:lnTo>
                  <a:lnTo>
                    <a:pt x="2592" y="261"/>
                  </a:lnTo>
                  <a:lnTo>
                    <a:pt x="2613" y="520"/>
                  </a:lnTo>
                  <a:lnTo>
                    <a:pt x="2465" y="667"/>
                  </a:lnTo>
                  <a:lnTo>
                    <a:pt x="2388" y="624"/>
                  </a:lnTo>
                  <a:lnTo>
                    <a:pt x="2309" y="584"/>
                  </a:lnTo>
                  <a:lnTo>
                    <a:pt x="2226" y="550"/>
                  </a:lnTo>
                  <a:lnTo>
                    <a:pt x="2141" y="523"/>
                  </a:lnTo>
                  <a:lnTo>
                    <a:pt x="2053" y="501"/>
                  </a:lnTo>
                  <a:lnTo>
                    <a:pt x="1963" y="484"/>
                  </a:lnTo>
                  <a:lnTo>
                    <a:pt x="1871" y="475"/>
                  </a:lnTo>
                  <a:lnTo>
                    <a:pt x="1777" y="471"/>
                  </a:lnTo>
                  <a:lnTo>
                    <a:pt x="1680" y="475"/>
                  </a:lnTo>
                  <a:lnTo>
                    <a:pt x="1584" y="485"/>
                  </a:lnTo>
                  <a:lnTo>
                    <a:pt x="1491" y="502"/>
                  </a:lnTo>
                  <a:lnTo>
                    <a:pt x="1400" y="526"/>
                  </a:lnTo>
                  <a:lnTo>
                    <a:pt x="1311" y="556"/>
                  </a:lnTo>
                  <a:lnTo>
                    <a:pt x="1226" y="592"/>
                  </a:lnTo>
                  <a:lnTo>
                    <a:pt x="1144" y="634"/>
                  </a:lnTo>
                  <a:lnTo>
                    <a:pt x="1066" y="682"/>
                  </a:lnTo>
                  <a:lnTo>
                    <a:pt x="991" y="734"/>
                  </a:lnTo>
                  <a:lnTo>
                    <a:pt x="920" y="792"/>
                  </a:lnTo>
                  <a:lnTo>
                    <a:pt x="854" y="854"/>
                  </a:lnTo>
                  <a:lnTo>
                    <a:pt x="791" y="920"/>
                  </a:lnTo>
                  <a:lnTo>
                    <a:pt x="734" y="992"/>
                  </a:lnTo>
                  <a:lnTo>
                    <a:pt x="681" y="1067"/>
                  </a:lnTo>
                  <a:lnTo>
                    <a:pt x="634" y="1145"/>
                  </a:lnTo>
                  <a:lnTo>
                    <a:pt x="592" y="1228"/>
                  </a:lnTo>
                  <a:lnTo>
                    <a:pt x="556" y="1313"/>
                  </a:lnTo>
                  <a:lnTo>
                    <a:pt x="526" y="1401"/>
                  </a:lnTo>
                  <a:lnTo>
                    <a:pt x="502" y="1492"/>
                  </a:lnTo>
                  <a:lnTo>
                    <a:pt x="485" y="1586"/>
                  </a:lnTo>
                  <a:lnTo>
                    <a:pt x="474" y="1680"/>
                  </a:lnTo>
                  <a:lnTo>
                    <a:pt x="471" y="1778"/>
                  </a:lnTo>
                  <a:lnTo>
                    <a:pt x="474" y="1876"/>
                  </a:lnTo>
                  <a:lnTo>
                    <a:pt x="485" y="1971"/>
                  </a:lnTo>
                  <a:lnTo>
                    <a:pt x="502" y="2065"/>
                  </a:lnTo>
                  <a:lnTo>
                    <a:pt x="526" y="2156"/>
                  </a:lnTo>
                  <a:lnTo>
                    <a:pt x="556" y="2244"/>
                  </a:lnTo>
                  <a:lnTo>
                    <a:pt x="592" y="2329"/>
                  </a:lnTo>
                  <a:lnTo>
                    <a:pt x="634" y="2411"/>
                  </a:lnTo>
                  <a:lnTo>
                    <a:pt x="681" y="2490"/>
                  </a:lnTo>
                  <a:lnTo>
                    <a:pt x="734" y="2564"/>
                  </a:lnTo>
                  <a:lnTo>
                    <a:pt x="791" y="2635"/>
                  </a:lnTo>
                  <a:lnTo>
                    <a:pt x="854" y="2702"/>
                  </a:lnTo>
                  <a:lnTo>
                    <a:pt x="920" y="2765"/>
                  </a:lnTo>
                  <a:lnTo>
                    <a:pt x="992" y="2821"/>
                  </a:lnTo>
                  <a:lnTo>
                    <a:pt x="1066" y="2874"/>
                  </a:lnTo>
                  <a:lnTo>
                    <a:pt x="1144" y="2922"/>
                  </a:lnTo>
                  <a:lnTo>
                    <a:pt x="1227" y="2963"/>
                  </a:lnTo>
                  <a:lnTo>
                    <a:pt x="1312" y="2999"/>
                  </a:lnTo>
                  <a:lnTo>
                    <a:pt x="1400" y="3029"/>
                  </a:lnTo>
                  <a:lnTo>
                    <a:pt x="1491" y="3053"/>
                  </a:lnTo>
                  <a:lnTo>
                    <a:pt x="1585" y="3071"/>
                  </a:lnTo>
                  <a:lnTo>
                    <a:pt x="1680" y="3082"/>
                  </a:lnTo>
                  <a:lnTo>
                    <a:pt x="1777" y="3084"/>
                  </a:lnTo>
                  <a:lnTo>
                    <a:pt x="1876" y="3082"/>
                  </a:lnTo>
                  <a:lnTo>
                    <a:pt x="1970" y="3071"/>
                  </a:lnTo>
                  <a:lnTo>
                    <a:pt x="2064" y="3053"/>
                  </a:lnTo>
                  <a:lnTo>
                    <a:pt x="2155" y="3029"/>
                  </a:lnTo>
                  <a:lnTo>
                    <a:pt x="2243" y="2999"/>
                  </a:lnTo>
                  <a:lnTo>
                    <a:pt x="2328" y="2963"/>
                  </a:lnTo>
                  <a:lnTo>
                    <a:pt x="2411" y="2922"/>
                  </a:lnTo>
                  <a:lnTo>
                    <a:pt x="2489" y="2874"/>
                  </a:lnTo>
                  <a:lnTo>
                    <a:pt x="2564" y="2821"/>
                  </a:lnTo>
                  <a:lnTo>
                    <a:pt x="2634" y="2765"/>
                  </a:lnTo>
                  <a:lnTo>
                    <a:pt x="2702" y="2702"/>
                  </a:lnTo>
                  <a:lnTo>
                    <a:pt x="2764" y="2635"/>
                  </a:lnTo>
                  <a:lnTo>
                    <a:pt x="2822" y="2564"/>
                  </a:lnTo>
                  <a:lnTo>
                    <a:pt x="2873" y="2490"/>
                  </a:lnTo>
                  <a:lnTo>
                    <a:pt x="2921" y="2411"/>
                  </a:lnTo>
                  <a:lnTo>
                    <a:pt x="2962" y="2329"/>
                  </a:lnTo>
                  <a:lnTo>
                    <a:pt x="2998" y="2244"/>
                  </a:lnTo>
                  <a:lnTo>
                    <a:pt x="3029" y="2156"/>
                  </a:lnTo>
                  <a:lnTo>
                    <a:pt x="3052" y="2065"/>
                  </a:lnTo>
                  <a:lnTo>
                    <a:pt x="3070" y="1971"/>
                  </a:lnTo>
                  <a:lnTo>
                    <a:pt x="3081" y="1876"/>
                  </a:lnTo>
                  <a:lnTo>
                    <a:pt x="3085" y="1778"/>
                  </a:lnTo>
                  <a:lnTo>
                    <a:pt x="3081" y="1684"/>
                  </a:lnTo>
                  <a:lnTo>
                    <a:pt x="3071" y="1593"/>
                  </a:lnTo>
                  <a:lnTo>
                    <a:pt x="3055" y="1503"/>
                  </a:lnTo>
                  <a:lnTo>
                    <a:pt x="3033" y="1415"/>
                  </a:lnTo>
                  <a:lnTo>
                    <a:pt x="3005" y="1329"/>
                  </a:lnTo>
                  <a:lnTo>
                    <a:pt x="2972" y="1247"/>
                  </a:lnTo>
                  <a:lnTo>
                    <a:pt x="2932" y="1166"/>
                  </a:lnTo>
                  <a:lnTo>
                    <a:pt x="2889" y="1090"/>
                  </a:lnTo>
                  <a:lnTo>
                    <a:pt x="3051" y="927"/>
                  </a:lnTo>
                  <a:lnTo>
                    <a:pt x="3277" y="944"/>
                  </a:lnTo>
                  <a:lnTo>
                    <a:pt x="3303" y="945"/>
                  </a:lnTo>
                  <a:lnTo>
                    <a:pt x="3325" y="945"/>
                  </a:lnTo>
                  <a:lnTo>
                    <a:pt x="3346" y="943"/>
                  </a:lnTo>
                  <a:lnTo>
                    <a:pt x="3394" y="1038"/>
                  </a:lnTo>
                  <a:lnTo>
                    <a:pt x="3435" y="1136"/>
                  </a:lnTo>
                  <a:lnTo>
                    <a:pt x="3471" y="1237"/>
                  </a:lnTo>
                  <a:lnTo>
                    <a:pt x="3500" y="1341"/>
                  </a:lnTo>
                  <a:lnTo>
                    <a:pt x="3524" y="1446"/>
                  </a:lnTo>
                  <a:lnTo>
                    <a:pt x="3541" y="1555"/>
                  </a:lnTo>
                  <a:lnTo>
                    <a:pt x="3552" y="1666"/>
                  </a:lnTo>
                  <a:lnTo>
                    <a:pt x="3554" y="1778"/>
                  </a:lnTo>
                  <a:lnTo>
                    <a:pt x="3551" y="1895"/>
                  </a:lnTo>
                  <a:lnTo>
                    <a:pt x="3540" y="2009"/>
                  </a:lnTo>
                  <a:lnTo>
                    <a:pt x="3522" y="2122"/>
                  </a:lnTo>
                  <a:lnTo>
                    <a:pt x="3497" y="2233"/>
                  </a:lnTo>
                  <a:lnTo>
                    <a:pt x="3464" y="2340"/>
                  </a:lnTo>
                  <a:lnTo>
                    <a:pt x="3426" y="2444"/>
                  </a:lnTo>
                  <a:lnTo>
                    <a:pt x="3381" y="2546"/>
                  </a:lnTo>
                  <a:lnTo>
                    <a:pt x="3331" y="2644"/>
                  </a:lnTo>
                  <a:lnTo>
                    <a:pt x="3273" y="2737"/>
                  </a:lnTo>
                  <a:lnTo>
                    <a:pt x="3212" y="2828"/>
                  </a:lnTo>
                  <a:lnTo>
                    <a:pt x="3145" y="2914"/>
                  </a:lnTo>
                  <a:lnTo>
                    <a:pt x="3073" y="2995"/>
                  </a:lnTo>
                  <a:lnTo>
                    <a:pt x="2995" y="3073"/>
                  </a:lnTo>
                  <a:lnTo>
                    <a:pt x="2913" y="3145"/>
                  </a:lnTo>
                  <a:lnTo>
                    <a:pt x="2827" y="3213"/>
                  </a:lnTo>
                  <a:lnTo>
                    <a:pt x="2736" y="3275"/>
                  </a:lnTo>
                  <a:lnTo>
                    <a:pt x="2643" y="3332"/>
                  </a:lnTo>
                  <a:lnTo>
                    <a:pt x="2544" y="3382"/>
                  </a:lnTo>
                  <a:lnTo>
                    <a:pt x="2443" y="3426"/>
                  </a:lnTo>
                  <a:lnTo>
                    <a:pt x="2339" y="3465"/>
                  </a:lnTo>
                  <a:lnTo>
                    <a:pt x="2232" y="3497"/>
                  </a:lnTo>
                  <a:lnTo>
                    <a:pt x="2122" y="3523"/>
                  </a:lnTo>
                  <a:lnTo>
                    <a:pt x="2009" y="3541"/>
                  </a:lnTo>
                  <a:lnTo>
                    <a:pt x="1894" y="3553"/>
                  </a:lnTo>
                  <a:lnTo>
                    <a:pt x="1777" y="3556"/>
                  </a:lnTo>
                  <a:lnTo>
                    <a:pt x="1661" y="3553"/>
                  </a:lnTo>
                  <a:lnTo>
                    <a:pt x="1545" y="3541"/>
                  </a:lnTo>
                  <a:lnTo>
                    <a:pt x="1432" y="3523"/>
                  </a:lnTo>
                  <a:lnTo>
                    <a:pt x="1323" y="3497"/>
                  </a:lnTo>
                  <a:lnTo>
                    <a:pt x="1215" y="3465"/>
                  </a:lnTo>
                  <a:lnTo>
                    <a:pt x="1111" y="3426"/>
                  </a:lnTo>
                  <a:lnTo>
                    <a:pt x="1010" y="3382"/>
                  </a:lnTo>
                  <a:lnTo>
                    <a:pt x="911" y="3332"/>
                  </a:lnTo>
                  <a:lnTo>
                    <a:pt x="818" y="3275"/>
                  </a:lnTo>
                  <a:lnTo>
                    <a:pt x="728" y="3213"/>
                  </a:lnTo>
                  <a:lnTo>
                    <a:pt x="641" y="3145"/>
                  </a:lnTo>
                  <a:lnTo>
                    <a:pt x="560" y="3073"/>
                  </a:lnTo>
                  <a:lnTo>
                    <a:pt x="483" y="2995"/>
                  </a:lnTo>
                  <a:lnTo>
                    <a:pt x="409" y="2914"/>
                  </a:lnTo>
                  <a:lnTo>
                    <a:pt x="342" y="2828"/>
                  </a:lnTo>
                  <a:lnTo>
                    <a:pt x="281" y="2737"/>
                  </a:lnTo>
                  <a:lnTo>
                    <a:pt x="225" y="2644"/>
                  </a:lnTo>
                  <a:lnTo>
                    <a:pt x="174" y="2546"/>
                  </a:lnTo>
                  <a:lnTo>
                    <a:pt x="128" y="2444"/>
                  </a:lnTo>
                  <a:lnTo>
                    <a:pt x="90" y="2340"/>
                  </a:lnTo>
                  <a:lnTo>
                    <a:pt x="59" y="2233"/>
                  </a:lnTo>
                  <a:lnTo>
                    <a:pt x="34" y="2122"/>
                  </a:lnTo>
                  <a:lnTo>
                    <a:pt x="14" y="2009"/>
                  </a:lnTo>
                  <a:lnTo>
                    <a:pt x="4" y="1895"/>
                  </a:lnTo>
                  <a:lnTo>
                    <a:pt x="0" y="1778"/>
                  </a:lnTo>
                  <a:lnTo>
                    <a:pt x="0" y="1778"/>
                  </a:lnTo>
                  <a:lnTo>
                    <a:pt x="4" y="1661"/>
                  </a:lnTo>
                  <a:lnTo>
                    <a:pt x="14" y="1546"/>
                  </a:lnTo>
                  <a:lnTo>
                    <a:pt x="34" y="1434"/>
                  </a:lnTo>
                  <a:lnTo>
                    <a:pt x="59" y="1324"/>
                  </a:lnTo>
                  <a:lnTo>
                    <a:pt x="90" y="1216"/>
                  </a:lnTo>
                  <a:lnTo>
                    <a:pt x="128" y="1111"/>
                  </a:lnTo>
                  <a:lnTo>
                    <a:pt x="174" y="1010"/>
                  </a:lnTo>
                  <a:lnTo>
                    <a:pt x="225" y="913"/>
                  </a:lnTo>
                  <a:lnTo>
                    <a:pt x="281" y="818"/>
                  </a:lnTo>
                  <a:lnTo>
                    <a:pt x="342" y="728"/>
                  </a:lnTo>
                  <a:lnTo>
                    <a:pt x="409" y="642"/>
                  </a:lnTo>
                  <a:lnTo>
                    <a:pt x="483" y="560"/>
                  </a:lnTo>
                  <a:lnTo>
                    <a:pt x="560" y="483"/>
                  </a:lnTo>
                  <a:lnTo>
                    <a:pt x="641" y="411"/>
                  </a:lnTo>
                  <a:lnTo>
                    <a:pt x="728" y="344"/>
                  </a:lnTo>
                  <a:lnTo>
                    <a:pt x="818" y="281"/>
                  </a:lnTo>
                  <a:lnTo>
                    <a:pt x="911" y="225"/>
                  </a:lnTo>
                  <a:lnTo>
                    <a:pt x="1010" y="174"/>
                  </a:lnTo>
                  <a:lnTo>
                    <a:pt x="1111" y="130"/>
                  </a:lnTo>
                  <a:lnTo>
                    <a:pt x="1215" y="90"/>
                  </a:lnTo>
                  <a:lnTo>
                    <a:pt x="1322" y="59"/>
                  </a:lnTo>
                  <a:lnTo>
                    <a:pt x="1432" y="34"/>
                  </a:lnTo>
                  <a:lnTo>
                    <a:pt x="1545" y="15"/>
                  </a:lnTo>
                  <a:lnTo>
                    <a:pt x="1659" y="4"/>
                  </a:lnTo>
                  <a:lnTo>
                    <a:pt x="17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126">
              <a:extLst>
                <a:ext uri="{FF2B5EF4-FFF2-40B4-BE49-F238E27FC236}">
                  <a16:creationId xmlns:a16="http://schemas.microsoft.com/office/drawing/2014/main" id="{543BD31B-6438-DB61-43F9-1ACCF9392292}"/>
                </a:ext>
              </a:extLst>
            </p:cNvPr>
            <p:cNvSpPr>
              <a:spLocks/>
            </p:cNvSpPr>
            <p:nvPr/>
          </p:nvSpPr>
          <p:spPr bwMode="auto">
            <a:xfrm>
              <a:off x="-1814513" y="3935413"/>
              <a:ext cx="925513" cy="925513"/>
            </a:xfrm>
            <a:custGeom>
              <a:avLst/>
              <a:gdLst>
                <a:gd name="T0" fmla="*/ 954 w 1750"/>
                <a:gd name="T1" fmla="*/ 4 h 1751"/>
                <a:gd name="T2" fmla="*/ 1104 w 1750"/>
                <a:gd name="T3" fmla="*/ 31 h 1751"/>
                <a:gd name="T4" fmla="*/ 1245 w 1750"/>
                <a:gd name="T5" fmla="*/ 83 h 1751"/>
                <a:gd name="T6" fmla="*/ 910 w 1750"/>
                <a:gd name="T7" fmla="*/ 418 h 1751"/>
                <a:gd name="T8" fmla="*/ 817 w 1750"/>
                <a:gd name="T9" fmla="*/ 421 h 1751"/>
                <a:gd name="T10" fmla="*/ 709 w 1750"/>
                <a:gd name="T11" fmla="*/ 448 h 1751"/>
                <a:gd name="T12" fmla="*/ 613 w 1750"/>
                <a:gd name="T13" fmla="*/ 499 h 1751"/>
                <a:gd name="T14" fmla="*/ 532 w 1750"/>
                <a:gd name="T15" fmla="*/ 571 h 1751"/>
                <a:gd name="T16" fmla="*/ 469 w 1750"/>
                <a:gd name="T17" fmla="*/ 661 h 1751"/>
                <a:gd name="T18" fmla="*/ 430 w 1750"/>
                <a:gd name="T19" fmla="*/ 763 h 1751"/>
                <a:gd name="T20" fmla="*/ 416 w 1750"/>
                <a:gd name="T21" fmla="*/ 876 h 1751"/>
                <a:gd name="T22" fmla="*/ 430 w 1750"/>
                <a:gd name="T23" fmla="*/ 989 h 1751"/>
                <a:gd name="T24" fmla="*/ 469 w 1750"/>
                <a:gd name="T25" fmla="*/ 1092 h 1751"/>
                <a:gd name="T26" fmla="*/ 532 w 1750"/>
                <a:gd name="T27" fmla="*/ 1181 h 1751"/>
                <a:gd name="T28" fmla="*/ 612 w 1750"/>
                <a:gd name="T29" fmla="*/ 1253 h 1751"/>
                <a:gd name="T30" fmla="*/ 708 w 1750"/>
                <a:gd name="T31" fmla="*/ 1304 h 1751"/>
                <a:gd name="T32" fmla="*/ 817 w 1750"/>
                <a:gd name="T33" fmla="*/ 1332 h 1751"/>
                <a:gd name="T34" fmla="*/ 933 w 1750"/>
                <a:gd name="T35" fmla="*/ 1332 h 1751"/>
                <a:gd name="T36" fmla="*/ 1041 w 1750"/>
                <a:gd name="T37" fmla="*/ 1304 h 1751"/>
                <a:gd name="T38" fmla="*/ 1137 w 1750"/>
                <a:gd name="T39" fmla="*/ 1253 h 1751"/>
                <a:gd name="T40" fmla="*/ 1218 w 1750"/>
                <a:gd name="T41" fmla="*/ 1181 h 1751"/>
                <a:gd name="T42" fmla="*/ 1281 w 1750"/>
                <a:gd name="T43" fmla="*/ 1092 h 1751"/>
                <a:gd name="T44" fmla="*/ 1321 w 1750"/>
                <a:gd name="T45" fmla="*/ 989 h 1751"/>
                <a:gd name="T46" fmla="*/ 1334 w 1750"/>
                <a:gd name="T47" fmla="*/ 876 h 1751"/>
                <a:gd name="T48" fmla="*/ 1662 w 1750"/>
                <a:gd name="T49" fmla="*/ 513 h 1751"/>
                <a:gd name="T50" fmla="*/ 1696 w 1750"/>
                <a:gd name="T51" fmla="*/ 575 h 1751"/>
                <a:gd name="T52" fmla="*/ 1736 w 1750"/>
                <a:gd name="T53" fmla="*/ 721 h 1751"/>
                <a:gd name="T54" fmla="*/ 1750 w 1750"/>
                <a:gd name="T55" fmla="*/ 876 h 1751"/>
                <a:gd name="T56" fmla="*/ 1736 w 1750"/>
                <a:gd name="T57" fmla="*/ 1033 h 1751"/>
                <a:gd name="T58" fmla="*/ 1695 w 1750"/>
                <a:gd name="T59" fmla="*/ 1182 h 1751"/>
                <a:gd name="T60" fmla="*/ 1630 w 1750"/>
                <a:gd name="T61" fmla="*/ 1318 h 1751"/>
                <a:gd name="T62" fmla="*/ 1545 w 1750"/>
                <a:gd name="T63" fmla="*/ 1440 h 1751"/>
                <a:gd name="T64" fmla="*/ 1439 w 1750"/>
                <a:gd name="T65" fmla="*/ 1546 h 1751"/>
                <a:gd name="T66" fmla="*/ 1317 w 1750"/>
                <a:gd name="T67" fmla="*/ 1632 h 1751"/>
                <a:gd name="T68" fmla="*/ 1180 w 1750"/>
                <a:gd name="T69" fmla="*/ 1697 h 1751"/>
                <a:gd name="T70" fmla="*/ 1032 w 1750"/>
                <a:gd name="T71" fmla="*/ 1737 h 1751"/>
                <a:gd name="T72" fmla="*/ 875 w 1750"/>
                <a:gd name="T73" fmla="*/ 1751 h 1751"/>
                <a:gd name="T74" fmla="*/ 718 w 1750"/>
                <a:gd name="T75" fmla="*/ 1737 h 1751"/>
                <a:gd name="T76" fmla="*/ 570 w 1750"/>
                <a:gd name="T77" fmla="*/ 1696 h 1751"/>
                <a:gd name="T78" fmla="*/ 433 w 1750"/>
                <a:gd name="T79" fmla="*/ 1632 h 1751"/>
                <a:gd name="T80" fmla="*/ 312 w 1750"/>
                <a:gd name="T81" fmla="*/ 1546 h 1751"/>
                <a:gd name="T82" fmla="*/ 206 w 1750"/>
                <a:gd name="T83" fmla="*/ 1440 h 1751"/>
                <a:gd name="T84" fmla="*/ 120 w 1750"/>
                <a:gd name="T85" fmla="*/ 1318 h 1751"/>
                <a:gd name="T86" fmla="*/ 55 w 1750"/>
                <a:gd name="T87" fmla="*/ 1181 h 1751"/>
                <a:gd name="T88" fmla="*/ 14 w 1750"/>
                <a:gd name="T89" fmla="*/ 1033 h 1751"/>
                <a:gd name="T90" fmla="*/ 0 w 1750"/>
                <a:gd name="T91" fmla="*/ 876 h 1751"/>
                <a:gd name="T92" fmla="*/ 14 w 1750"/>
                <a:gd name="T93" fmla="*/ 718 h 1751"/>
                <a:gd name="T94" fmla="*/ 55 w 1750"/>
                <a:gd name="T95" fmla="*/ 571 h 1751"/>
                <a:gd name="T96" fmla="*/ 120 w 1750"/>
                <a:gd name="T97" fmla="*/ 434 h 1751"/>
                <a:gd name="T98" fmla="*/ 206 w 1750"/>
                <a:gd name="T99" fmla="*/ 311 h 1751"/>
                <a:gd name="T100" fmla="*/ 312 w 1750"/>
                <a:gd name="T101" fmla="*/ 207 h 1751"/>
                <a:gd name="T102" fmla="*/ 433 w 1750"/>
                <a:gd name="T103" fmla="*/ 120 h 1751"/>
                <a:gd name="T104" fmla="*/ 570 w 1750"/>
                <a:gd name="T105" fmla="*/ 55 h 1751"/>
                <a:gd name="T106" fmla="*/ 718 w 1750"/>
                <a:gd name="T107" fmla="*/ 15 h 1751"/>
                <a:gd name="T108" fmla="*/ 875 w 1750"/>
                <a:gd name="T109" fmla="*/ 0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0" h="1751">
                  <a:moveTo>
                    <a:pt x="875" y="0"/>
                  </a:moveTo>
                  <a:lnTo>
                    <a:pt x="954" y="4"/>
                  </a:lnTo>
                  <a:lnTo>
                    <a:pt x="1030" y="15"/>
                  </a:lnTo>
                  <a:lnTo>
                    <a:pt x="1104" y="31"/>
                  </a:lnTo>
                  <a:lnTo>
                    <a:pt x="1176" y="54"/>
                  </a:lnTo>
                  <a:lnTo>
                    <a:pt x="1245" y="83"/>
                  </a:lnTo>
                  <a:lnTo>
                    <a:pt x="1238" y="90"/>
                  </a:lnTo>
                  <a:lnTo>
                    <a:pt x="910" y="418"/>
                  </a:lnTo>
                  <a:lnTo>
                    <a:pt x="875" y="417"/>
                  </a:lnTo>
                  <a:lnTo>
                    <a:pt x="817" y="421"/>
                  </a:lnTo>
                  <a:lnTo>
                    <a:pt x="762" y="431"/>
                  </a:lnTo>
                  <a:lnTo>
                    <a:pt x="709" y="448"/>
                  </a:lnTo>
                  <a:lnTo>
                    <a:pt x="659" y="471"/>
                  </a:lnTo>
                  <a:lnTo>
                    <a:pt x="613" y="499"/>
                  </a:lnTo>
                  <a:lnTo>
                    <a:pt x="570" y="532"/>
                  </a:lnTo>
                  <a:lnTo>
                    <a:pt x="532" y="571"/>
                  </a:lnTo>
                  <a:lnTo>
                    <a:pt x="498" y="614"/>
                  </a:lnTo>
                  <a:lnTo>
                    <a:pt x="469" y="661"/>
                  </a:lnTo>
                  <a:lnTo>
                    <a:pt x="446" y="710"/>
                  </a:lnTo>
                  <a:lnTo>
                    <a:pt x="430" y="763"/>
                  </a:lnTo>
                  <a:lnTo>
                    <a:pt x="420" y="818"/>
                  </a:lnTo>
                  <a:lnTo>
                    <a:pt x="416" y="876"/>
                  </a:lnTo>
                  <a:lnTo>
                    <a:pt x="420" y="933"/>
                  </a:lnTo>
                  <a:lnTo>
                    <a:pt x="430" y="989"/>
                  </a:lnTo>
                  <a:lnTo>
                    <a:pt x="446" y="1043"/>
                  </a:lnTo>
                  <a:lnTo>
                    <a:pt x="469" y="1092"/>
                  </a:lnTo>
                  <a:lnTo>
                    <a:pt x="498" y="1139"/>
                  </a:lnTo>
                  <a:lnTo>
                    <a:pt x="532" y="1181"/>
                  </a:lnTo>
                  <a:lnTo>
                    <a:pt x="570" y="1219"/>
                  </a:lnTo>
                  <a:lnTo>
                    <a:pt x="612" y="1253"/>
                  </a:lnTo>
                  <a:lnTo>
                    <a:pt x="659" y="1282"/>
                  </a:lnTo>
                  <a:lnTo>
                    <a:pt x="708" y="1304"/>
                  </a:lnTo>
                  <a:lnTo>
                    <a:pt x="762" y="1321"/>
                  </a:lnTo>
                  <a:lnTo>
                    <a:pt x="817" y="1332"/>
                  </a:lnTo>
                  <a:lnTo>
                    <a:pt x="875" y="1336"/>
                  </a:lnTo>
                  <a:lnTo>
                    <a:pt x="933" y="1332"/>
                  </a:lnTo>
                  <a:lnTo>
                    <a:pt x="988" y="1321"/>
                  </a:lnTo>
                  <a:lnTo>
                    <a:pt x="1041" y="1304"/>
                  </a:lnTo>
                  <a:lnTo>
                    <a:pt x="1091" y="1282"/>
                  </a:lnTo>
                  <a:lnTo>
                    <a:pt x="1137" y="1253"/>
                  </a:lnTo>
                  <a:lnTo>
                    <a:pt x="1180" y="1219"/>
                  </a:lnTo>
                  <a:lnTo>
                    <a:pt x="1218" y="1181"/>
                  </a:lnTo>
                  <a:lnTo>
                    <a:pt x="1252" y="1139"/>
                  </a:lnTo>
                  <a:lnTo>
                    <a:pt x="1281" y="1092"/>
                  </a:lnTo>
                  <a:lnTo>
                    <a:pt x="1304" y="1043"/>
                  </a:lnTo>
                  <a:lnTo>
                    <a:pt x="1321" y="989"/>
                  </a:lnTo>
                  <a:lnTo>
                    <a:pt x="1330" y="933"/>
                  </a:lnTo>
                  <a:lnTo>
                    <a:pt x="1334" y="876"/>
                  </a:lnTo>
                  <a:lnTo>
                    <a:pt x="1333" y="841"/>
                  </a:lnTo>
                  <a:lnTo>
                    <a:pt x="1662" y="513"/>
                  </a:lnTo>
                  <a:lnTo>
                    <a:pt x="1668" y="506"/>
                  </a:lnTo>
                  <a:lnTo>
                    <a:pt x="1696" y="575"/>
                  </a:lnTo>
                  <a:lnTo>
                    <a:pt x="1720" y="646"/>
                  </a:lnTo>
                  <a:lnTo>
                    <a:pt x="1736" y="721"/>
                  </a:lnTo>
                  <a:lnTo>
                    <a:pt x="1747" y="798"/>
                  </a:lnTo>
                  <a:lnTo>
                    <a:pt x="1750" y="876"/>
                  </a:lnTo>
                  <a:lnTo>
                    <a:pt x="1747" y="956"/>
                  </a:lnTo>
                  <a:lnTo>
                    <a:pt x="1736" y="1033"/>
                  </a:lnTo>
                  <a:lnTo>
                    <a:pt x="1719" y="1109"/>
                  </a:lnTo>
                  <a:lnTo>
                    <a:pt x="1695" y="1182"/>
                  </a:lnTo>
                  <a:lnTo>
                    <a:pt x="1666" y="1252"/>
                  </a:lnTo>
                  <a:lnTo>
                    <a:pt x="1630" y="1318"/>
                  </a:lnTo>
                  <a:lnTo>
                    <a:pt x="1591" y="1381"/>
                  </a:lnTo>
                  <a:lnTo>
                    <a:pt x="1545" y="1440"/>
                  </a:lnTo>
                  <a:lnTo>
                    <a:pt x="1493" y="1495"/>
                  </a:lnTo>
                  <a:lnTo>
                    <a:pt x="1439" y="1546"/>
                  </a:lnTo>
                  <a:lnTo>
                    <a:pt x="1379" y="1591"/>
                  </a:lnTo>
                  <a:lnTo>
                    <a:pt x="1317" y="1632"/>
                  </a:lnTo>
                  <a:lnTo>
                    <a:pt x="1251" y="1667"/>
                  </a:lnTo>
                  <a:lnTo>
                    <a:pt x="1180" y="1697"/>
                  </a:lnTo>
                  <a:lnTo>
                    <a:pt x="1108" y="1720"/>
                  </a:lnTo>
                  <a:lnTo>
                    <a:pt x="1032" y="1737"/>
                  </a:lnTo>
                  <a:lnTo>
                    <a:pt x="954" y="1748"/>
                  </a:lnTo>
                  <a:lnTo>
                    <a:pt x="875" y="1751"/>
                  </a:lnTo>
                  <a:lnTo>
                    <a:pt x="796" y="1748"/>
                  </a:lnTo>
                  <a:lnTo>
                    <a:pt x="718" y="1737"/>
                  </a:lnTo>
                  <a:lnTo>
                    <a:pt x="642" y="1720"/>
                  </a:lnTo>
                  <a:lnTo>
                    <a:pt x="570" y="1696"/>
                  </a:lnTo>
                  <a:lnTo>
                    <a:pt x="500" y="1667"/>
                  </a:lnTo>
                  <a:lnTo>
                    <a:pt x="433" y="1632"/>
                  </a:lnTo>
                  <a:lnTo>
                    <a:pt x="371" y="1591"/>
                  </a:lnTo>
                  <a:lnTo>
                    <a:pt x="312" y="1546"/>
                  </a:lnTo>
                  <a:lnTo>
                    <a:pt x="257" y="1495"/>
                  </a:lnTo>
                  <a:lnTo>
                    <a:pt x="206" y="1440"/>
                  </a:lnTo>
                  <a:lnTo>
                    <a:pt x="161" y="1380"/>
                  </a:lnTo>
                  <a:lnTo>
                    <a:pt x="120" y="1318"/>
                  </a:lnTo>
                  <a:lnTo>
                    <a:pt x="85" y="1252"/>
                  </a:lnTo>
                  <a:lnTo>
                    <a:pt x="55" y="1181"/>
                  </a:lnTo>
                  <a:lnTo>
                    <a:pt x="31" y="1109"/>
                  </a:lnTo>
                  <a:lnTo>
                    <a:pt x="14" y="1033"/>
                  </a:lnTo>
                  <a:lnTo>
                    <a:pt x="3" y="955"/>
                  </a:lnTo>
                  <a:lnTo>
                    <a:pt x="0" y="876"/>
                  </a:lnTo>
                  <a:lnTo>
                    <a:pt x="3" y="796"/>
                  </a:lnTo>
                  <a:lnTo>
                    <a:pt x="14" y="718"/>
                  </a:lnTo>
                  <a:lnTo>
                    <a:pt x="31" y="643"/>
                  </a:lnTo>
                  <a:lnTo>
                    <a:pt x="55" y="571"/>
                  </a:lnTo>
                  <a:lnTo>
                    <a:pt x="85" y="501"/>
                  </a:lnTo>
                  <a:lnTo>
                    <a:pt x="120" y="434"/>
                  </a:lnTo>
                  <a:lnTo>
                    <a:pt x="161" y="371"/>
                  </a:lnTo>
                  <a:lnTo>
                    <a:pt x="206" y="311"/>
                  </a:lnTo>
                  <a:lnTo>
                    <a:pt x="257" y="257"/>
                  </a:lnTo>
                  <a:lnTo>
                    <a:pt x="312" y="207"/>
                  </a:lnTo>
                  <a:lnTo>
                    <a:pt x="371" y="161"/>
                  </a:lnTo>
                  <a:lnTo>
                    <a:pt x="433" y="120"/>
                  </a:lnTo>
                  <a:lnTo>
                    <a:pt x="500" y="84"/>
                  </a:lnTo>
                  <a:lnTo>
                    <a:pt x="570" y="55"/>
                  </a:lnTo>
                  <a:lnTo>
                    <a:pt x="642" y="31"/>
                  </a:lnTo>
                  <a:lnTo>
                    <a:pt x="718" y="15"/>
                  </a:lnTo>
                  <a:lnTo>
                    <a:pt x="796" y="4"/>
                  </a:lnTo>
                  <a:lnTo>
                    <a:pt x="8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127">
              <a:extLst>
                <a:ext uri="{FF2B5EF4-FFF2-40B4-BE49-F238E27FC236}">
                  <a16:creationId xmlns:a16="http://schemas.microsoft.com/office/drawing/2014/main" id="{9A09AC40-EA41-CBEF-5805-AD37D2D9260F}"/>
                </a:ext>
              </a:extLst>
            </p:cNvPr>
            <p:cNvSpPr>
              <a:spLocks/>
            </p:cNvSpPr>
            <p:nvPr/>
          </p:nvSpPr>
          <p:spPr bwMode="auto">
            <a:xfrm>
              <a:off x="-1349375" y="3246438"/>
              <a:ext cx="1139825" cy="1146175"/>
            </a:xfrm>
            <a:custGeom>
              <a:avLst/>
              <a:gdLst>
                <a:gd name="T0" fmla="*/ 1509 w 2153"/>
                <a:gd name="T1" fmla="*/ 1 h 2166"/>
                <a:gd name="T2" fmla="*/ 1530 w 2153"/>
                <a:gd name="T3" fmla="*/ 14 h 2166"/>
                <a:gd name="T4" fmla="*/ 1539 w 2153"/>
                <a:gd name="T5" fmla="*/ 37 h 2166"/>
                <a:gd name="T6" fmla="*/ 1685 w 2153"/>
                <a:gd name="T7" fmla="*/ 239 h 2166"/>
                <a:gd name="T8" fmla="*/ 1726 w 2153"/>
                <a:gd name="T9" fmla="*/ 211 h 2166"/>
                <a:gd name="T10" fmla="*/ 1771 w 2153"/>
                <a:gd name="T11" fmla="*/ 203 h 2166"/>
                <a:gd name="T12" fmla="*/ 1818 w 2153"/>
                <a:gd name="T13" fmla="*/ 211 h 2166"/>
                <a:gd name="T14" fmla="*/ 1859 w 2153"/>
                <a:gd name="T15" fmla="*/ 239 h 2166"/>
                <a:gd name="T16" fmla="*/ 1949 w 2153"/>
                <a:gd name="T17" fmla="*/ 333 h 2166"/>
                <a:gd name="T18" fmla="*/ 1967 w 2153"/>
                <a:gd name="T19" fmla="*/ 385 h 2166"/>
                <a:gd name="T20" fmla="*/ 1961 w 2153"/>
                <a:gd name="T21" fmla="*/ 438 h 2166"/>
                <a:gd name="T22" fmla="*/ 1931 w 2153"/>
                <a:gd name="T23" fmla="*/ 486 h 2166"/>
                <a:gd name="T24" fmla="*/ 2115 w 2153"/>
                <a:gd name="T25" fmla="*/ 613 h 2166"/>
                <a:gd name="T26" fmla="*/ 2140 w 2153"/>
                <a:gd name="T27" fmla="*/ 624 h 2166"/>
                <a:gd name="T28" fmla="*/ 2152 w 2153"/>
                <a:gd name="T29" fmla="*/ 647 h 2166"/>
                <a:gd name="T30" fmla="*/ 2149 w 2153"/>
                <a:gd name="T31" fmla="*/ 672 h 2166"/>
                <a:gd name="T32" fmla="*/ 1666 w 2153"/>
                <a:gd name="T33" fmla="*/ 1158 h 2166"/>
                <a:gd name="T34" fmla="*/ 1613 w 2153"/>
                <a:gd name="T35" fmla="*/ 1197 h 2166"/>
                <a:gd name="T36" fmla="*/ 1551 w 2153"/>
                <a:gd name="T37" fmla="*/ 1216 h 2166"/>
                <a:gd name="T38" fmla="*/ 1512 w 2153"/>
                <a:gd name="T39" fmla="*/ 1219 h 2166"/>
                <a:gd name="T40" fmla="*/ 1491 w 2153"/>
                <a:gd name="T41" fmla="*/ 1217 h 2166"/>
                <a:gd name="T42" fmla="*/ 286 w 2153"/>
                <a:gd name="T43" fmla="*/ 2131 h 2166"/>
                <a:gd name="T44" fmla="*/ 244 w 2153"/>
                <a:gd name="T45" fmla="*/ 2156 h 2166"/>
                <a:gd name="T46" fmla="*/ 108 w 2153"/>
                <a:gd name="T47" fmla="*/ 2166 h 2166"/>
                <a:gd name="T48" fmla="*/ 78 w 2153"/>
                <a:gd name="T49" fmla="*/ 2164 h 2166"/>
                <a:gd name="T50" fmla="*/ 35 w 2153"/>
                <a:gd name="T51" fmla="*/ 2142 h 2166"/>
                <a:gd name="T52" fmla="*/ 7 w 2153"/>
                <a:gd name="T53" fmla="*/ 2104 h 2166"/>
                <a:gd name="T54" fmla="*/ 0 w 2153"/>
                <a:gd name="T55" fmla="*/ 2054 h 2166"/>
                <a:gd name="T56" fmla="*/ 12 w 2153"/>
                <a:gd name="T57" fmla="*/ 1926 h 2166"/>
                <a:gd name="T58" fmla="*/ 37 w 2153"/>
                <a:gd name="T59" fmla="*/ 1885 h 2166"/>
                <a:gd name="T60" fmla="*/ 470 w 2153"/>
                <a:gd name="T61" fmla="*/ 1453 h 2166"/>
                <a:gd name="T62" fmla="*/ 785 w 2153"/>
                <a:gd name="T63" fmla="*/ 1137 h 2166"/>
                <a:gd name="T64" fmla="*/ 934 w 2153"/>
                <a:gd name="T65" fmla="*/ 667 h 2166"/>
                <a:gd name="T66" fmla="*/ 934 w 2153"/>
                <a:gd name="T67" fmla="*/ 613 h 2166"/>
                <a:gd name="T68" fmla="*/ 952 w 2153"/>
                <a:gd name="T69" fmla="*/ 545 h 2166"/>
                <a:gd name="T70" fmla="*/ 994 w 2153"/>
                <a:gd name="T71" fmla="*/ 486 h 2166"/>
                <a:gd name="T72" fmla="*/ 1478 w 2153"/>
                <a:gd name="T73" fmla="*/ 4 h 2166"/>
                <a:gd name="T74" fmla="*/ 1497 w 2153"/>
                <a:gd name="T75" fmla="*/ 0 h 2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53" h="2166">
                  <a:moveTo>
                    <a:pt x="1497" y="0"/>
                  </a:moveTo>
                  <a:lnTo>
                    <a:pt x="1509" y="1"/>
                  </a:lnTo>
                  <a:lnTo>
                    <a:pt x="1520" y="6"/>
                  </a:lnTo>
                  <a:lnTo>
                    <a:pt x="1530" y="14"/>
                  </a:lnTo>
                  <a:lnTo>
                    <a:pt x="1536" y="25"/>
                  </a:lnTo>
                  <a:lnTo>
                    <a:pt x="1539" y="37"/>
                  </a:lnTo>
                  <a:lnTo>
                    <a:pt x="1565" y="359"/>
                  </a:lnTo>
                  <a:lnTo>
                    <a:pt x="1685" y="239"/>
                  </a:lnTo>
                  <a:lnTo>
                    <a:pt x="1704" y="222"/>
                  </a:lnTo>
                  <a:lnTo>
                    <a:pt x="1726" y="211"/>
                  </a:lnTo>
                  <a:lnTo>
                    <a:pt x="1748" y="204"/>
                  </a:lnTo>
                  <a:lnTo>
                    <a:pt x="1771" y="203"/>
                  </a:lnTo>
                  <a:lnTo>
                    <a:pt x="1795" y="204"/>
                  </a:lnTo>
                  <a:lnTo>
                    <a:pt x="1818" y="211"/>
                  </a:lnTo>
                  <a:lnTo>
                    <a:pt x="1840" y="222"/>
                  </a:lnTo>
                  <a:lnTo>
                    <a:pt x="1859" y="239"/>
                  </a:lnTo>
                  <a:lnTo>
                    <a:pt x="1931" y="312"/>
                  </a:lnTo>
                  <a:lnTo>
                    <a:pt x="1949" y="333"/>
                  </a:lnTo>
                  <a:lnTo>
                    <a:pt x="1961" y="359"/>
                  </a:lnTo>
                  <a:lnTo>
                    <a:pt x="1967" y="385"/>
                  </a:lnTo>
                  <a:lnTo>
                    <a:pt x="1967" y="412"/>
                  </a:lnTo>
                  <a:lnTo>
                    <a:pt x="1961" y="438"/>
                  </a:lnTo>
                  <a:lnTo>
                    <a:pt x="1949" y="463"/>
                  </a:lnTo>
                  <a:lnTo>
                    <a:pt x="1931" y="486"/>
                  </a:lnTo>
                  <a:lnTo>
                    <a:pt x="1826" y="590"/>
                  </a:lnTo>
                  <a:lnTo>
                    <a:pt x="2115" y="613"/>
                  </a:lnTo>
                  <a:lnTo>
                    <a:pt x="2128" y="617"/>
                  </a:lnTo>
                  <a:lnTo>
                    <a:pt x="2140" y="624"/>
                  </a:lnTo>
                  <a:lnTo>
                    <a:pt x="2147" y="634"/>
                  </a:lnTo>
                  <a:lnTo>
                    <a:pt x="2152" y="647"/>
                  </a:lnTo>
                  <a:lnTo>
                    <a:pt x="2153" y="659"/>
                  </a:lnTo>
                  <a:lnTo>
                    <a:pt x="2149" y="672"/>
                  </a:lnTo>
                  <a:lnTo>
                    <a:pt x="2141" y="684"/>
                  </a:lnTo>
                  <a:lnTo>
                    <a:pt x="1666" y="1158"/>
                  </a:lnTo>
                  <a:lnTo>
                    <a:pt x="1640" y="1180"/>
                  </a:lnTo>
                  <a:lnTo>
                    <a:pt x="1613" y="1197"/>
                  </a:lnTo>
                  <a:lnTo>
                    <a:pt x="1583" y="1209"/>
                  </a:lnTo>
                  <a:lnTo>
                    <a:pt x="1551" y="1216"/>
                  </a:lnTo>
                  <a:lnTo>
                    <a:pt x="1519" y="1220"/>
                  </a:lnTo>
                  <a:lnTo>
                    <a:pt x="1512" y="1219"/>
                  </a:lnTo>
                  <a:lnTo>
                    <a:pt x="1503" y="1219"/>
                  </a:lnTo>
                  <a:lnTo>
                    <a:pt x="1491" y="1217"/>
                  </a:lnTo>
                  <a:lnTo>
                    <a:pt x="1220" y="1197"/>
                  </a:lnTo>
                  <a:lnTo>
                    <a:pt x="286" y="2131"/>
                  </a:lnTo>
                  <a:lnTo>
                    <a:pt x="267" y="2147"/>
                  </a:lnTo>
                  <a:lnTo>
                    <a:pt x="244" y="2156"/>
                  </a:lnTo>
                  <a:lnTo>
                    <a:pt x="219" y="2161"/>
                  </a:lnTo>
                  <a:lnTo>
                    <a:pt x="108" y="2166"/>
                  </a:lnTo>
                  <a:lnTo>
                    <a:pt x="103" y="2166"/>
                  </a:lnTo>
                  <a:lnTo>
                    <a:pt x="78" y="2164"/>
                  </a:lnTo>
                  <a:lnTo>
                    <a:pt x="55" y="2155"/>
                  </a:lnTo>
                  <a:lnTo>
                    <a:pt x="35" y="2142"/>
                  </a:lnTo>
                  <a:lnTo>
                    <a:pt x="19" y="2124"/>
                  </a:lnTo>
                  <a:lnTo>
                    <a:pt x="7" y="2104"/>
                  </a:lnTo>
                  <a:lnTo>
                    <a:pt x="0" y="2080"/>
                  </a:lnTo>
                  <a:lnTo>
                    <a:pt x="0" y="2054"/>
                  </a:lnTo>
                  <a:lnTo>
                    <a:pt x="8" y="1950"/>
                  </a:lnTo>
                  <a:lnTo>
                    <a:pt x="12" y="1926"/>
                  </a:lnTo>
                  <a:lnTo>
                    <a:pt x="23" y="1904"/>
                  </a:lnTo>
                  <a:lnTo>
                    <a:pt x="37" y="1885"/>
                  </a:lnTo>
                  <a:lnTo>
                    <a:pt x="171" y="1753"/>
                  </a:lnTo>
                  <a:lnTo>
                    <a:pt x="470" y="1453"/>
                  </a:lnTo>
                  <a:lnTo>
                    <a:pt x="477" y="1447"/>
                  </a:lnTo>
                  <a:lnTo>
                    <a:pt x="785" y="1137"/>
                  </a:lnTo>
                  <a:lnTo>
                    <a:pt x="957" y="965"/>
                  </a:lnTo>
                  <a:lnTo>
                    <a:pt x="934" y="667"/>
                  </a:lnTo>
                  <a:lnTo>
                    <a:pt x="933" y="649"/>
                  </a:lnTo>
                  <a:lnTo>
                    <a:pt x="934" y="613"/>
                  </a:lnTo>
                  <a:lnTo>
                    <a:pt x="940" y="578"/>
                  </a:lnTo>
                  <a:lnTo>
                    <a:pt x="952" y="545"/>
                  </a:lnTo>
                  <a:lnTo>
                    <a:pt x="970" y="514"/>
                  </a:lnTo>
                  <a:lnTo>
                    <a:pt x="994" y="486"/>
                  </a:lnTo>
                  <a:lnTo>
                    <a:pt x="1469" y="12"/>
                  </a:lnTo>
                  <a:lnTo>
                    <a:pt x="1478" y="4"/>
                  </a:lnTo>
                  <a:lnTo>
                    <a:pt x="1488" y="1"/>
                  </a:lnTo>
                  <a:lnTo>
                    <a:pt x="14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1026" name="Picture 2">
            <a:extLst>
              <a:ext uri="{FF2B5EF4-FFF2-40B4-BE49-F238E27FC236}">
                <a16:creationId xmlns:a16="http://schemas.microsoft.com/office/drawing/2014/main" id="{7261C6A0-DCB9-B714-22E1-AA61FF7AF3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2601" y="1972733"/>
            <a:ext cx="749298" cy="7492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B5C8157-3AB6-1C51-0E88-E935A696FFE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3888" t="50370" r="44000" b="16667"/>
          <a:stretch/>
        </p:blipFill>
        <p:spPr bwMode="auto">
          <a:xfrm>
            <a:off x="6252633" y="4762500"/>
            <a:ext cx="549573" cy="44873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BB92BBB7-EE5C-D96F-EEDA-FE9D1E179E6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0048" t="28518" r="21403" b="28889"/>
          <a:stretch/>
        </p:blipFill>
        <p:spPr bwMode="auto">
          <a:xfrm>
            <a:off x="4813301" y="4313766"/>
            <a:ext cx="330477" cy="44450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71F3A4FD-2D1B-1B06-3540-90F3B2AC111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352" t="50556" r="74676" b="2222"/>
          <a:stretch/>
        </p:blipFill>
        <p:spPr bwMode="auto">
          <a:xfrm>
            <a:off x="4351865" y="3526367"/>
            <a:ext cx="507551" cy="54609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ED86318A-FD3F-7D76-E1F6-8279BAAAE9D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Marker/>
                    </a14:imgEffect>
                  </a14:imgLayer>
                </a14:imgProps>
              </a:ext>
              <a:ext uri="{28A0092B-C50C-407E-A947-70E740481C1C}">
                <a14:useLocalDpi xmlns:a14="http://schemas.microsoft.com/office/drawing/2010/main" val="0"/>
              </a:ext>
            </a:extLst>
          </a:blip>
          <a:srcRect l="22641" t="18397" r="24528" b="22170"/>
          <a:stretch/>
        </p:blipFill>
        <p:spPr bwMode="auto">
          <a:xfrm>
            <a:off x="4779433" y="2048933"/>
            <a:ext cx="474134" cy="5334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69E501F7-66CE-04EB-E9CE-7A0354E9ADC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682" t="52593" r="87946" b="18333"/>
          <a:stretch/>
        </p:blipFill>
        <p:spPr bwMode="auto">
          <a:xfrm>
            <a:off x="7366001" y="2688167"/>
            <a:ext cx="508000" cy="6646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Logo&#10;&#10;Description automatically generated">
            <a:extLst>
              <a:ext uri="{FF2B5EF4-FFF2-40B4-BE49-F238E27FC236}">
                <a16:creationId xmlns:a16="http://schemas.microsoft.com/office/drawing/2014/main" id="{7B8462F9-F2D1-E4DA-44BF-BE4633F5DD7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43850" y="2984501"/>
            <a:ext cx="1929293" cy="449044"/>
          </a:xfrm>
          <a:prstGeom prst="rect">
            <a:avLst/>
          </a:prstGeom>
        </p:spPr>
      </p:pic>
      <p:sp>
        <p:nvSpPr>
          <p:cNvPr id="34" name="TextBox 33">
            <a:extLst>
              <a:ext uri="{FF2B5EF4-FFF2-40B4-BE49-F238E27FC236}">
                <a16:creationId xmlns:a16="http://schemas.microsoft.com/office/drawing/2014/main" id="{7E1DD836-4645-FE4D-CCFF-50FDC61D451E}"/>
              </a:ext>
            </a:extLst>
          </p:cNvPr>
          <p:cNvSpPr txBox="1"/>
          <p:nvPr/>
        </p:nvSpPr>
        <p:spPr>
          <a:xfrm>
            <a:off x="4876800" y="3433233"/>
            <a:ext cx="2468034"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Gain a competitive edge using the best tools and techniques to build a better you .</a:t>
            </a:r>
          </a:p>
        </p:txBody>
      </p:sp>
    </p:spTree>
    <p:extLst>
      <p:ext uri="{BB962C8B-B14F-4D97-AF65-F5344CB8AC3E}">
        <p14:creationId xmlns:p14="http://schemas.microsoft.com/office/powerpoint/2010/main" val="24344007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45E312C-1151-2EBF-8248-81E49F3B91D7}"/>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Investments Plan </a:t>
            </a:r>
          </a:p>
        </p:txBody>
      </p:sp>
      <p:pic>
        <p:nvPicPr>
          <p:cNvPr id="4" name="Picture 3">
            <a:extLst>
              <a:ext uri="{FF2B5EF4-FFF2-40B4-BE49-F238E27FC236}">
                <a16:creationId xmlns:a16="http://schemas.microsoft.com/office/drawing/2014/main" id="{86342D3C-2E4E-41A7-039F-1474223EC41C}"/>
              </a:ext>
            </a:extLst>
          </p:cNvPr>
          <p:cNvPicPr>
            <a:picLocks noChangeAspect="1"/>
          </p:cNvPicPr>
          <p:nvPr/>
        </p:nvPicPr>
        <p:blipFill>
          <a:blip r:embed="rId2"/>
          <a:stretch>
            <a:fillRect/>
          </a:stretch>
        </p:blipFill>
        <p:spPr>
          <a:xfrm>
            <a:off x="339048" y="1150706"/>
            <a:ext cx="11435411" cy="4703386"/>
          </a:xfrm>
          <a:prstGeom prst="rect">
            <a:avLst/>
          </a:prstGeom>
        </p:spPr>
      </p:pic>
    </p:spTree>
    <p:extLst>
      <p:ext uri="{BB962C8B-B14F-4D97-AF65-F5344CB8AC3E}">
        <p14:creationId xmlns:p14="http://schemas.microsoft.com/office/powerpoint/2010/main" val="12587043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41F97B1-E6B0-BAD4-66A2-5483036D109F}"/>
              </a:ext>
            </a:extLst>
          </p:cNvPr>
          <p:cNvSpPr txBox="1"/>
          <p:nvPr/>
        </p:nvSpPr>
        <p:spPr>
          <a:xfrm>
            <a:off x="1718170" y="2990944"/>
            <a:ext cx="591882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Tactics</a:t>
            </a:r>
          </a:p>
        </p:txBody>
      </p:sp>
      <p:graphicFrame>
        <p:nvGraphicFramePr>
          <p:cNvPr id="4" name="Table 5">
            <a:extLst>
              <a:ext uri="{FF2B5EF4-FFF2-40B4-BE49-F238E27FC236}">
                <a16:creationId xmlns:a16="http://schemas.microsoft.com/office/drawing/2014/main" id="{66A03E0E-EF44-0D81-6FCF-C54635097BDB}"/>
              </a:ext>
            </a:extLst>
          </p:cNvPr>
          <p:cNvGraphicFramePr>
            <a:graphicFrameLocks noGrp="1"/>
          </p:cNvGraphicFramePr>
          <p:nvPr>
            <p:extLst>
              <p:ext uri="{D42A27DB-BD31-4B8C-83A1-F6EECF244321}">
                <p14:modId xmlns:p14="http://schemas.microsoft.com/office/powerpoint/2010/main" val="2773628034"/>
              </p:ext>
            </p:extLst>
          </p:nvPr>
        </p:nvGraphicFramePr>
        <p:xfrm>
          <a:off x="7259028" y="88749"/>
          <a:ext cx="4773411" cy="6629400"/>
        </p:xfrm>
        <a:graphic>
          <a:graphicData uri="http://schemas.openxmlformats.org/drawingml/2006/table">
            <a:tbl>
              <a:tblPr firstRow="1" bandRow="1">
                <a:tableStyleId>{5C22544A-7EE6-4342-B048-85BDC9FD1C3A}</a:tableStyleId>
              </a:tblPr>
              <a:tblGrid>
                <a:gridCol w="1011451">
                  <a:extLst>
                    <a:ext uri="{9D8B030D-6E8A-4147-A177-3AD203B41FA5}">
                      <a16:colId xmlns:a16="http://schemas.microsoft.com/office/drawing/2014/main" val="250726202"/>
                    </a:ext>
                  </a:extLst>
                </a:gridCol>
                <a:gridCol w="2849646">
                  <a:extLst>
                    <a:ext uri="{9D8B030D-6E8A-4147-A177-3AD203B41FA5}">
                      <a16:colId xmlns:a16="http://schemas.microsoft.com/office/drawing/2014/main" val="2361609606"/>
                    </a:ext>
                  </a:extLst>
                </a:gridCol>
                <a:gridCol w="912314">
                  <a:extLst>
                    <a:ext uri="{9D8B030D-6E8A-4147-A177-3AD203B41FA5}">
                      <a16:colId xmlns:a16="http://schemas.microsoft.com/office/drawing/2014/main" val="4003720094"/>
                    </a:ext>
                  </a:extLst>
                </a:gridCol>
              </a:tblGrid>
              <a:tr h="215353">
                <a:tc gridSpan="2">
                  <a:txBody>
                    <a:bodyPr/>
                    <a:lstStyle/>
                    <a:p>
                      <a:r>
                        <a:rPr lang="en-GB" sz="900" dirty="0"/>
                        <a:t>Summary </a:t>
                      </a:r>
                    </a:p>
                  </a:txBody>
                  <a:tcPr>
                    <a:solidFill>
                      <a:srgbClr val="DB5000"/>
                    </a:solidFill>
                  </a:tcPr>
                </a:tc>
                <a:tc hMerge="1">
                  <a:txBody>
                    <a:bodyPr/>
                    <a:lstStyle/>
                    <a:p>
                      <a:endParaRPr lang="en-GB" dirty="0"/>
                    </a:p>
                  </a:txBody>
                  <a:tcPr>
                    <a:solidFill>
                      <a:srgbClr val="DB5000"/>
                    </a:solidFill>
                  </a:tcPr>
                </a:tc>
                <a:tc>
                  <a:txBody>
                    <a:bodyPr/>
                    <a:lstStyle/>
                    <a:p>
                      <a:r>
                        <a:rPr lang="en-GB" sz="900" dirty="0"/>
                        <a:t>Page No</a:t>
                      </a:r>
                    </a:p>
                  </a:txBody>
                  <a:tcPr>
                    <a:solidFill>
                      <a:srgbClr val="DB5000"/>
                    </a:solidFill>
                  </a:tcPr>
                </a:tc>
                <a:extLst>
                  <a:ext uri="{0D108BD9-81ED-4DB2-BD59-A6C34878D82A}">
                    <a16:rowId xmlns:a16="http://schemas.microsoft.com/office/drawing/2014/main" val="1379040451"/>
                  </a:ext>
                </a:extLst>
              </a:tr>
              <a:tr h="200061">
                <a:tc>
                  <a:txBody>
                    <a:bodyPr/>
                    <a:lstStyle/>
                    <a:p>
                      <a:r>
                        <a:rPr lang="en-GB" sz="900" b="1" dirty="0">
                          <a:solidFill>
                            <a:schemeClr val="bg1"/>
                          </a:solidFill>
                          <a:latin typeface="Lato Long"/>
                        </a:rPr>
                        <a:t>1.0</a:t>
                      </a:r>
                    </a:p>
                  </a:txBody>
                  <a:tcPr>
                    <a:solidFill>
                      <a:srgbClr val="3984A3"/>
                    </a:solidFill>
                  </a:tcPr>
                </a:tc>
                <a:tc>
                  <a:txBody>
                    <a:bodyPr/>
                    <a:lstStyle/>
                    <a:p>
                      <a:r>
                        <a:rPr lang="en-GB" sz="900" b="1" dirty="0">
                          <a:solidFill>
                            <a:schemeClr val="bg1"/>
                          </a:solidFill>
                          <a:latin typeface="Lato Long"/>
                        </a:rPr>
                        <a:t>Summary </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88537191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Corporate Objectives and Mission Statement</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142382326"/>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Market specific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30397707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ategory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43845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ustomer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9847186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hannel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9018709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Key Opportunities identified (B2B &amp; B2C)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27244981"/>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Priority Categories and Brand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56631578"/>
                  </a:ext>
                </a:extLst>
              </a:tr>
              <a:tr h="200061">
                <a:tc>
                  <a:txBody>
                    <a:bodyPr/>
                    <a:lstStyle/>
                    <a:p>
                      <a:r>
                        <a:rPr lang="en-GB" sz="900" dirty="0">
                          <a:solidFill>
                            <a:schemeClr val="bg1"/>
                          </a:solidFill>
                          <a:latin typeface="Lato Long"/>
                        </a:rPr>
                        <a:t>2.0</a:t>
                      </a:r>
                    </a:p>
                  </a:txBody>
                  <a:tcPr>
                    <a:solidFill>
                      <a:srgbClr val="3984A3"/>
                    </a:solidFill>
                  </a:tcPr>
                </a:tc>
                <a:tc>
                  <a:txBody>
                    <a:bodyPr/>
                    <a:lstStyle/>
                    <a:p>
                      <a:r>
                        <a:rPr lang="en-GB" sz="900" b="1" dirty="0">
                          <a:solidFill>
                            <a:schemeClr val="bg1"/>
                          </a:solidFill>
                          <a:latin typeface="Lato Long"/>
                        </a:rPr>
                        <a:t>Analysi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556882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Market sizing / Channel Sizing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40030120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Key Channels and Customer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6251086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petitive analysi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9047431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Opportunities and threat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191416563"/>
                  </a:ext>
                </a:extLst>
              </a:tr>
              <a:tr h="200061">
                <a:tc>
                  <a:txBody>
                    <a:bodyPr/>
                    <a:lstStyle/>
                    <a:p>
                      <a:r>
                        <a:rPr lang="en-GB" sz="900" dirty="0">
                          <a:solidFill>
                            <a:schemeClr val="bg1"/>
                          </a:solidFill>
                          <a:latin typeface="Lato Long"/>
                        </a:rPr>
                        <a:t>3.0</a:t>
                      </a:r>
                    </a:p>
                  </a:txBody>
                  <a:tcPr>
                    <a:solidFill>
                      <a:srgbClr val="3984A3"/>
                    </a:solidFill>
                  </a:tcPr>
                </a:tc>
                <a:tc>
                  <a:txBody>
                    <a:bodyPr/>
                    <a:lstStyle/>
                    <a:p>
                      <a:r>
                        <a:rPr lang="en-GB" sz="900" b="1" dirty="0">
                          <a:solidFill>
                            <a:schemeClr val="bg1"/>
                          </a:solidFill>
                          <a:latin typeface="Lato Long"/>
                        </a:rPr>
                        <a:t>Resource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5146695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Human resource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3108314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POS Resource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45114604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Investments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32402442"/>
                  </a:ext>
                </a:extLst>
              </a:tr>
              <a:tr h="200061">
                <a:tc>
                  <a:txBody>
                    <a:bodyPr/>
                    <a:lstStyle/>
                    <a:p>
                      <a:r>
                        <a:rPr lang="en-GB" sz="900" dirty="0">
                          <a:solidFill>
                            <a:schemeClr val="bg1"/>
                          </a:solidFill>
                          <a:latin typeface="Lato Long"/>
                        </a:rPr>
                        <a:t>4.0</a:t>
                      </a:r>
                    </a:p>
                  </a:txBody>
                  <a:tcPr>
                    <a:solidFill>
                      <a:srgbClr val="3984A3"/>
                    </a:solidFill>
                  </a:tcPr>
                </a:tc>
                <a:tc>
                  <a:txBody>
                    <a:bodyPr/>
                    <a:lstStyle/>
                    <a:p>
                      <a:r>
                        <a:rPr lang="en-GB" sz="900" b="1" dirty="0">
                          <a:solidFill>
                            <a:schemeClr val="bg1"/>
                          </a:solidFill>
                          <a:latin typeface="Lato Long"/>
                        </a:rPr>
                        <a:t>Tactic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01312479"/>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75000"/>
                              <a:lumOff val="25000"/>
                            </a:schemeClr>
                          </a:solidFill>
                          <a:latin typeface="Lato Long"/>
                        </a:rPr>
                        <a:t>Brands channels and tactic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6304355"/>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Branding Plans</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5008497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munication Plan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90853343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POS Plan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85700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High level tactical calendar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23390391"/>
                  </a:ext>
                </a:extLst>
              </a:tr>
              <a:tr h="200061">
                <a:tc>
                  <a:txBody>
                    <a:bodyPr/>
                    <a:lstStyle/>
                    <a:p>
                      <a:r>
                        <a:rPr lang="en-GB" sz="900" b="1" dirty="0">
                          <a:solidFill>
                            <a:schemeClr val="bg1"/>
                          </a:solidFill>
                          <a:latin typeface="Lato Long"/>
                        </a:rPr>
                        <a:t>5.0</a:t>
                      </a:r>
                    </a:p>
                  </a:txBody>
                  <a:tcPr>
                    <a:solidFill>
                      <a:schemeClr val="accent1"/>
                    </a:solidFill>
                  </a:tcPr>
                </a:tc>
                <a:tc>
                  <a:txBody>
                    <a:bodyPr/>
                    <a:lstStyle/>
                    <a:p>
                      <a:r>
                        <a:rPr lang="en-GB" sz="900" b="1" dirty="0">
                          <a:solidFill>
                            <a:schemeClr val="bg1"/>
                          </a:solidFill>
                          <a:latin typeface="Lato Long"/>
                        </a:rPr>
                        <a:t>P&amp;L</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703129503"/>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P&amp;L</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5752941"/>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Marketing ROI and Ratio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7789640"/>
                  </a:ext>
                </a:extLst>
              </a:tr>
              <a:tr h="200061">
                <a:tc>
                  <a:txBody>
                    <a:bodyPr/>
                    <a:lstStyle/>
                    <a:p>
                      <a:r>
                        <a:rPr lang="en-GB" sz="900" b="1" dirty="0">
                          <a:solidFill>
                            <a:schemeClr val="bg1"/>
                          </a:solidFill>
                          <a:latin typeface="Lato Long"/>
                        </a:rPr>
                        <a:t>6.0</a:t>
                      </a:r>
                    </a:p>
                  </a:txBody>
                  <a:tcPr>
                    <a:solidFill>
                      <a:schemeClr val="accent1"/>
                    </a:solidFill>
                  </a:tcPr>
                </a:tc>
                <a:tc>
                  <a:txBody>
                    <a:bodyPr/>
                    <a:lstStyle/>
                    <a:p>
                      <a:r>
                        <a:rPr lang="en-GB" sz="900" b="1" dirty="0">
                          <a:solidFill>
                            <a:schemeClr val="bg1"/>
                          </a:solidFill>
                          <a:latin typeface="Lato Long"/>
                        </a:rPr>
                        <a:t>Conclusions </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72979437"/>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Recommendations and Review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86498152"/>
                  </a:ext>
                </a:extLst>
              </a:tr>
            </a:tbl>
          </a:graphicData>
        </a:graphic>
      </p:graphicFrame>
    </p:spTree>
    <p:extLst>
      <p:ext uri="{BB962C8B-B14F-4D97-AF65-F5344CB8AC3E}">
        <p14:creationId xmlns:p14="http://schemas.microsoft.com/office/powerpoint/2010/main" val="8457030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45E312C-1151-2EBF-8248-81E49F3B91D7}"/>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Brands , Channels and Tactics</a:t>
            </a:r>
          </a:p>
        </p:txBody>
      </p:sp>
      <p:pic>
        <p:nvPicPr>
          <p:cNvPr id="3" name="Picture 2">
            <a:extLst>
              <a:ext uri="{FF2B5EF4-FFF2-40B4-BE49-F238E27FC236}">
                <a16:creationId xmlns:a16="http://schemas.microsoft.com/office/drawing/2014/main" id="{21346532-8F8F-0236-062F-A3FBDD052B3F}"/>
              </a:ext>
            </a:extLst>
          </p:cNvPr>
          <p:cNvPicPr>
            <a:picLocks noChangeAspect="1"/>
          </p:cNvPicPr>
          <p:nvPr/>
        </p:nvPicPr>
        <p:blipFill>
          <a:blip r:embed="rId2"/>
          <a:stretch>
            <a:fillRect/>
          </a:stretch>
        </p:blipFill>
        <p:spPr>
          <a:xfrm>
            <a:off x="832207" y="1346204"/>
            <a:ext cx="10599506" cy="4394284"/>
          </a:xfrm>
          <a:prstGeom prst="rect">
            <a:avLst/>
          </a:prstGeom>
        </p:spPr>
      </p:pic>
    </p:spTree>
    <p:extLst>
      <p:ext uri="{BB962C8B-B14F-4D97-AF65-F5344CB8AC3E}">
        <p14:creationId xmlns:p14="http://schemas.microsoft.com/office/powerpoint/2010/main" val="19823018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45E312C-1151-2EBF-8248-81E49F3B91D7}"/>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Planning Exercise – SWOT Execution</a:t>
            </a:r>
          </a:p>
        </p:txBody>
      </p:sp>
      <p:pic>
        <p:nvPicPr>
          <p:cNvPr id="4" name="Picture 3">
            <a:extLst>
              <a:ext uri="{FF2B5EF4-FFF2-40B4-BE49-F238E27FC236}">
                <a16:creationId xmlns:a16="http://schemas.microsoft.com/office/drawing/2014/main" id="{C6AC45CA-DD80-AD70-ADBB-E6EF04686B62}"/>
              </a:ext>
            </a:extLst>
          </p:cNvPr>
          <p:cNvPicPr>
            <a:picLocks noChangeAspect="1"/>
          </p:cNvPicPr>
          <p:nvPr/>
        </p:nvPicPr>
        <p:blipFill>
          <a:blip r:embed="rId2"/>
          <a:stretch>
            <a:fillRect/>
          </a:stretch>
        </p:blipFill>
        <p:spPr>
          <a:xfrm>
            <a:off x="448235" y="1174376"/>
            <a:ext cx="11417844" cy="4837221"/>
          </a:xfrm>
          <a:prstGeom prst="rect">
            <a:avLst/>
          </a:prstGeom>
        </p:spPr>
      </p:pic>
    </p:spTree>
    <p:extLst>
      <p:ext uri="{BB962C8B-B14F-4D97-AF65-F5344CB8AC3E}">
        <p14:creationId xmlns:p14="http://schemas.microsoft.com/office/powerpoint/2010/main" val="35958541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45E312C-1151-2EBF-8248-81E49F3B91D7}"/>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Branding Plan </a:t>
            </a:r>
          </a:p>
        </p:txBody>
      </p:sp>
      <p:grpSp>
        <p:nvGrpSpPr>
          <p:cNvPr id="8" name="Group 7">
            <a:extLst>
              <a:ext uri="{FF2B5EF4-FFF2-40B4-BE49-F238E27FC236}">
                <a16:creationId xmlns:a16="http://schemas.microsoft.com/office/drawing/2014/main" id="{6B0F1360-C7C5-E977-87E8-022727F71B15}"/>
              </a:ext>
            </a:extLst>
          </p:cNvPr>
          <p:cNvGrpSpPr/>
          <p:nvPr/>
        </p:nvGrpSpPr>
        <p:grpSpPr>
          <a:xfrm>
            <a:off x="9154275" y="1055939"/>
            <a:ext cx="2321959" cy="2735225"/>
            <a:chOff x="8455631" y="1394986"/>
            <a:chExt cx="2825394" cy="3033175"/>
          </a:xfrm>
        </p:grpSpPr>
        <p:pic>
          <p:nvPicPr>
            <p:cNvPr id="2052" name="Picture 4" descr="White empty store shelves. Retail shelf rack. Showcase display. Vector illustration. Realistic 3d vector illustration.&#10;                        ">
              <a:extLst>
                <a:ext uri="{FF2B5EF4-FFF2-40B4-BE49-F238E27FC236}">
                  <a16:creationId xmlns:a16="http://schemas.microsoft.com/office/drawing/2014/main" id="{7A10E3FA-BFCD-0E89-FFD9-1C61155FD92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9364" r="19288"/>
            <a:stretch/>
          </p:blipFill>
          <p:spPr bwMode="auto">
            <a:xfrm>
              <a:off x="8476180" y="2142161"/>
              <a:ext cx="2804845" cy="2286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38D6588-CC17-D168-2D48-8AD26AA9DF92}"/>
                </a:ext>
              </a:extLst>
            </p:cNvPr>
            <p:cNvSpPr/>
            <p:nvPr/>
          </p:nvSpPr>
          <p:spPr>
            <a:xfrm>
              <a:off x="8496728" y="1582220"/>
              <a:ext cx="1541124" cy="421241"/>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Lato Light"/>
                  <a:ea typeface="+mn-ea"/>
                  <a:cs typeface="+mn-cs"/>
                </a:rPr>
                <a:t>Tide detergents</a:t>
              </a:r>
            </a:p>
          </p:txBody>
        </p:sp>
        <p:pic>
          <p:nvPicPr>
            <p:cNvPr id="2054" name="Picture 6" descr="Laundry Detergent and Fabric Care Products - Tide">
              <a:extLst>
                <a:ext uri="{FF2B5EF4-FFF2-40B4-BE49-F238E27FC236}">
                  <a16:creationId xmlns:a16="http://schemas.microsoft.com/office/drawing/2014/main" id="{1F34DF34-E2E5-90D4-C493-03978F4468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20849" y="1394986"/>
              <a:ext cx="1119080" cy="71286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D9F47FA5-8285-95DC-3BFF-3CF325DA2E5A}"/>
                </a:ext>
              </a:extLst>
            </p:cNvPr>
            <p:cNvSpPr/>
            <p:nvPr/>
          </p:nvSpPr>
          <p:spPr>
            <a:xfrm>
              <a:off x="8455631" y="1397285"/>
              <a:ext cx="2825394" cy="719191"/>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grpSp>
      <p:pic>
        <p:nvPicPr>
          <p:cNvPr id="2056" name="Picture 8" descr="Grocery store shop interior black white graphic sketch illustration vector">
            <a:extLst>
              <a:ext uri="{FF2B5EF4-FFF2-40B4-BE49-F238E27FC236}">
                <a16:creationId xmlns:a16="http://schemas.microsoft.com/office/drawing/2014/main" id="{6FBE2952-2E6D-03B3-86B5-E9B19659BE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43761" y="3935002"/>
            <a:ext cx="2716659" cy="195209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Laundry Detergent and Fabric Care Products - Tide">
            <a:extLst>
              <a:ext uri="{FF2B5EF4-FFF2-40B4-BE49-F238E27FC236}">
                <a16:creationId xmlns:a16="http://schemas.microsoft.com/office/drawing/2014/main" id="{4AAF8B81-55F8-EEA8-BF13-41B0EFC2A96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31048"/>
          <a:stretch/>
        </p:blipFill>
        <p:spPr bwMode="auto">
          <a:xfrm>
            <a:off x="9862282" y="5246083"/>
            <a:ext cx="1038599" cy="95950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515F08BB-F19F-CD34-D604-2528125FCF64}"/>
              </a:ext>
            </a:extLst>
          </p:cNvPr>
          <p:cNvSpPr txBox="1"/>
          <p:nvPr/>
        </p:nvSpPr>
        <p:spPr>
          <a:xfrm>
            <a:off x="5013788" y="1407560"/>
            <a:ext cx="4068566" cy="229293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The Branding plan in trade marketing will cover the following area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Lato Ligh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In Category at the sto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In Communication at the sto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In Display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Anywhere where the consumer looks and touches outside the catego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On pack for Promo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Promotional Staff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0" i="0" u="none" strike="noStrike" kern="1200" cap="none" spc="0" normalizeH="0" baseline="0" noProof="0" dirty="0">
              <a:ln>
                <a:noFill/>
              </a:ln>
              <a:solidFill>
                <a:prstClr val="black"/>
              </a:solidFill>
              <a:effectLst/>
              <a:uLnTx/>
              <a:uFillTx/>
              <a:latin typeface="Lat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Lato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Lato Light"/>
                <a:ea typeface="+mn-ea"/>
                <a:cs typeface="+mn-cs"/>
              </a:rPr>
              <a:t> </a:t>
            </a:r>
          </a:p>
        </p:txBody>
      </p:sp>
      <p:pic>
        <p:nvPicPr>
          <p:cNvPr id="2058" name="Picture 10" descr="People shopping at the supermarket">
            <a:extLst>
              <a:ext uri="{FF2B5EF4-FFF2-40B4-BE49-F238E27FC236}">
                <a16:creationId xmlns:a16="http://schemas.microsoft.com/office/drawing/2014/main" id="{A816BEB7-EB45-06D2-7969-06E3A52099D0}"/>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40866" y="1320229"/>
            <a:ext cx="440055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Supermarket Aisle With Shelves, Grocery Items, Shopping, Retail And Consumerism Concept Flat Vector Illustration">
            <a:extLst>
              <a:ext uri="{FF2B5EF4-FFF2-40B4-BE49-F238E27FC236}">
                <a16:creationId xmlns:a16="http://schemas.microsoft.com/office/drawing/2014/main" id="{569A2696-E204-8817-25BA-D41C41AFE9DC}"/>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r="-21711"/>
          <a:stretch/>
        </p:blipFill>
        <p:spPr bwMode="auto">
          <a:xfrm>
            <a:off x="317697" y="3688422"/>
            <a:ext cx="5378008" cy="234250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CD5F54C2-6529-7431-706E-06EE7C8DBB17}"/>
              </a:ext>
            </a:extLst>
          </p:cNvPr>
          <p:cNvPicPr>
            <a:picLocks noChangeAspect="1"/>
          </p:cNvPicPr>
          <p:nvPr/>
        </p:nvPicPr>
        <p:blipFill rotWithShape="1">
          <a:blip r:embed="rId9">
            <a:extLst>
              <a:ext uri="{BEBA8EAE-BF5A-486C-A8C5-ECC9F3942E4B}">
                <a14:imgProps xmlns:a14="http://schemas.microsoft.com/office/drawing/2010/main">
                  <a14:imgLayer r:embed="rId10">
                    <a14:imgEffect>
                      <a14:saturation sat="0"/>
                    </a14:imgEffect>
                  </a14:imgLayer>
                </a14:imgProps>
              </a:ext>
            </a:extLst>
          </a:blip>
          <a:srcRect l="30350" t="52809" r="39378"/>
          <a:stretch/>
        </p:blipFill>
        <p:spPr>
          <a:xfrm>
            <a:off x="5630238" y="4428162"/>
            <a:ext cx="2528423" cy="1397286"/>
          </a:xfrm>
          <a:prstGeom prst="rect">
            <a:avLst/>
          </a:prstGeom>
        </p:spPr>
      </p:pic>
      <p:sp>
        <p:nvSpPr>
          <p:cNvPr id="14" name="Oval 13">
            <a:extLst>
              <a:ext uri="{FF2B5EF4-FFF2-40B4-BE49-F238E27FC236}">
                <a16:creationId xmlns:a16="http://schemas.microsoft.com/office/drawing/2014/main" id="{0458D674-0CD1-9D17-8361-9443216E8BB3}"/>
              </a:ext>
            </a:extLst>
          </p:cNvPr>
          <p:cNvSpPr/>
          <p:nvPr/>
        </p:nvSpPr>
        <p:spPr>
          <a:xfrm>
            <a:off x="2404153" y="3339101"/>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5" name="Oval 14">
            <a:extLst>
              <a:ext uri="{FF2B5EF4-FFF2-40B4-BE49-F238E27FC236}">
                <a16:creationId xmlns:a16="http://schemas.microsoft.com/office/drawing/2014/main" id="{780D2D65-443D-3C55-250B-10028954CBBB}"/>
              </a:ext>
            </a:extLst>
          </p:cNvPr>
          <p:cNvSpPr/>
          <p:nvPr/>
        </p:nvSpPr>
        <p:spPr>
          <a:xfrm>
            <a:off x="3357937" y="3203824"/>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6" name="Oval 15">
            <a:extLst>
              <a:ext uri="{FF2B5EF4-FFF2-40B4-BE49-F238E27FC236}">
                <a16:creationId xmlns:a16="http://schemas.microsoft.com/office/drawing/2014/main" id="{01B846A1-A185-BB28-7F56-C6C9DFC51B56}"/>
              </a:ext>
            </a:extLst>
          </p:cNvPr>
          <p:cNvSpPr/>
          <p:nvPr/>
        </p:nvSpPr>
        <p:spPr>
          <a:xfrm>
            <a:off x="4250077" y="2246615"/>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7" name="Oval 16">
            <a:extLst>
              <a:ext uri="{FF2B5EF4-FFF2-40B4-BE49-F238E27FC236}">
                <a16:creationId xmlns:a16="http://schemas.microsoft.com/office/drawing/2014/main" id="{9578EDFC-7E79-70DE-2EEF-E9981589B3EE}"/>
              </a:ext>
            </a:extLst>
          </p:cNvPr>
          <p:cNvSpPr/>
          <p:nvPr/>
        </p:nvSpPr>
        <p:spPr>
          <a:xfrm>
            <a:off x="3436706" y="1669550"/>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8" name="Oval 17">
            <a:extLst>
              <a:ext uri="{FF2B5EF4-FFF2-40B4-BE49-F238E27FC236}">
                <a16:creationId xmlns:a16="http://schemas.microsoft.com/office/drawing/2014/main" id="{EEAF5FBD-E6B0-8444-C20E-18B36BEFB88A}"/>
              </a:ext>
            </a:extLst>
          </p:cNvPr>
          <p:cNvSpPr/>
          <p:nvPr/>
        </p:nvSpPr>
        <p:spPr>
          <a:xfrm>
            <a:off x="2366481" y="1544548"/>
            <a:ext cx="315074" cy="273978"/>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9" name="Oval 18">
            <a:extLst>
              <a:ext uri="{FF2B5EF4-FFF2-40B4-BE49-F238E27FC236}">
                <a16:creationId xmlns:a16="http://schemas.microsoft.com/office/drawing/2014/main" id="{24E8D7AC-5A14-D745-B5F9-E4A09A90B89F}"/>
              </a:ext>
            </a:extLst>
          </p:cNvPr>
          <p:cNvSpPr/>
          <p:nvPr/>
        </p:nvSpPr>
        <p:spPr>
          <a:xfrm>
            <a:off x="655834" y="4159322"/>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20" name="Oval 19">
            <a:extLst>
              <a:ext uri="{FF2B5EF4-FFF2-40B4-BE49-F238E27FC236}">
                <a16:creationId xmlns:a16="http://schemas.microsoft.com/office/drawing/2014/main" id="{3358737E-7198-422B-6084-E227EDF9F62E}"/>
              </a:ext>
            </a:extLst>
          </p:cNvPr>
          <p:cNvSpPr/>
          <p:nvPr/>
        </p:nvSpPr>
        <p:spPr>
          <a:xfrm>
            <a:off x="1804827" y="3880208"/>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21" name="Oval 20">
            <a:extLst>
              <a:ext uri="{FF2B5EF4-FFF2-40B4-BE49-F238E27FC236}">
                <a16:creationId xmlns:a16="http://schemas.microsoft.com/office/drawing/2014/main" id="{0B135B05-2183-E20B-26AC-362AC8F6D1E0}"/>
              </a:ext>
            </a:extLst>
          </p:cNvPr>
          <p:cNvSpPr/>
          <p:nvPr/>
        </p:nvSpPr>
        <p:spPr>
          <a:xfrm>
            <a:off x="7320337" y="5214135"/>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22" name="Oval 21">
            <a:extLst>
              <a:ext uri="{FF2B5EF4-FFF2-40B4-BE49-F238E27FC236}">
                <a16:creationId xmlns:a16="http://schemas.microsoft.com/office/drawing/2014/main" id="{6C8961C9-74D9-4867-D3AB-07CF66E9D085}"/>
              </a:ext>
            </a:extLst>
          </p:cNvPr>
          <p:cNvSpPr/>
          <p:nvPr/>
        </p:nvSpPr>
        <p:spPr>
          <a:xfrm>
            <a:off x="6794644" y="4482958"/>
            <a:ext cx="174660" cy="18493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Tree>
    <p:extLst>
      <p:ext uri="{BB962C8B-B14F-4D97-AF65-F5344CB8AC3E}">
        <p14:creationId xmlns:p14="http://schemas.microsoft.com/office/powerpoint/2010/main" val="38125400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8D00752-B857-011E-5003-BE1909D636F3}"/>
              </a:ext>
            </a:extLst>
          </p:cNvPr>
          <p:cNvSpPr/>
          <p:nvPr/>
        </p:nvSpPr>
        <p:spPr>
          <a:xfrm>
            <a:off x="2179236" y="2137024"/>
            <a:ext cx="4468142" cy="25479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2" name="TextBox 1">
            <a:extLst>
              <a:ext uri="{FF2B5EF4-FFF2-40B4-BE49-F238E27FC236}">
                <a16:creationId xmlns:a16="http://schemas.microsoft.com/office/drawing/2014/main" id="{745E312C-1151-2EBF-8248-81E49F3B91D7}"/>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TM Communication Plans </a:t>
            </a:r>
          </a:p>
        </p:txBody>
      </p:sp>
      <p:pic>
        <p:nvPicPr>
          <p:cNvPr id="5122" name="Picture 2" descr="Consumer's path to purchase">
            <a:extLst>
              <a:ext uri="{FF2B5EF4-FFF2-40B4-BE49-F238E27FC236}">
                <a16:creationId xmlns:a16="http://schemas.microsoft.com/office/drawing/2014/main" id="{66A56E70-0DE1-4E58-07DE-05D3054E89F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10114" y="0"/>
            <a:ext cx="4524984" cy="219620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CF24EB41-0CC7-F0E7-BB4A-E8B6CFFB4014}"/>
              </a:ext>
            </a:extLst>
          </p:cNvPr>
          <p:cNvSpPr/>
          <p:nvPr/>
        </p:nvSpPr>
        <p:spPr>
          <a:xfrm>
            <a:off x="2167847" y="1530849"/>
            <a:ext cx="4500081" cy="575353"/>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Befo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Purchase </a:t>
            </a:r>
          </a:p>
        </p:txBody>
      </p:sp>
      <p:sp>
        <p:nvSpPr>
          <p:cNvPr id="4" name="Rectangle 3">
            <a:extLst>
              <a:ext uri="{FF2B5EF4-FFF2-40B4-BE49-F238E27FC236}">
                <a16:creationId xmlns:a16="http://schemas.microsoft.com/office/drawing/2014/main" id="{B29125D2-C4F0-7DF5-4CD0-3826DAE50FC3}"/>
              </a:ext>
            </a:extLst>
          </p:cNvPr>
          <p:cNvSpPr/>
          <p:nvPr/>
        </p:nvSpPr>
        <p:spPr>
          <a:xfrm>
            <a:off x="6717817" y="1538159"/>
            <a:ext cx="4623371" cy="565079"/>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Dur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Purchase </a:t>
            </a:r>
          </a:p>
        </p:txBody>
      </p:sp>
      <p:sp>
        <p:nvSpPr>
          <p:cNvPr id="7" name="TextBox 6">
            <a:extLst>
              <a:ext uri="{FF2B5EF4-FFF2-40B4-BE49-F238E27FC236}">
                <a16:creationId xmlns:a16="http://schemas.microsoft.com/office/drawing/2014/main" id="{352B984B-D727-92D9-D313-35917CFDA071}"/>
              </a:ext>
            </a:extLst>
          </p:cNvPr>
          <p:cNvSpPr txBox="1"/>
          <p:nvPr/>
        </p:nvSpPr>
        <p:spPr>
          <a:xfrm>
            <a:off x="2239766" y="3955545"/>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Home </a:t>
            </a:r>
          </a:p>
        </p:txBody>
      </p:sp>
      <p:sp>
        <p:nvSpPr>
          <p:cNvPr id="8" name="TextBox 7">
            <a:extLst>
              <a:ext uri="{FF2B5EF4-FFF2-40B4-BE49-F238E27FC236}">
                <a16:creationId xmlns:a16="http://schemas.microsoft.com/office/drawing/2014/main" id="{EDD7674B-3BF9-2D3A-B918-05D5258599B1}"/>
              </a:ext>
            </a:extLst>
          </p:cNvPr>
          <p:cNvSpPr txBox="1"/>
          <p:nvPr/>
        </p:nvSpPr>
        <p:spPr>
          <a:xfrm>
            <a:off x="2936697" y="3224367"/>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School </a:t>
            </a:r>
          </a:p>
        </p:txBody>
      </p:sp>
      <p:sp>
        <p:nvSpPr>
          <p:cNvPr id="9" name="TextBox 8">
            <a:extLst>
              <a:ext uri="{FF2B5EF4-FFF2-40B4-BE49-F238E27FC236}">
                <a16:creationId xmlns:a16="http://schemas.microsoft.com/office/drawing/2014/main" id="{B15D31B9-8B79-9E4F-745F-B7BB6B5E2D03}"/>
              </a:ext>
            </a:extLst>
          </p:cNvPr>
          <p:cNvSpPr txBox="1"/>
          <p:nvPr/>
        </p:nvSpPr>
        <p:spPr>
          <a:xfrm>
            <a:off x="4065140" y="2780866"/>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Work </a:t>
            </a:r>
          </a:p>
        </p:txBody>
      </p:sp>
      <p:sp>
        <p:nvSpPr>
          <p:cNvPr id="10" name="TextBox 9">
            <a:extLst>
              <a:ext uri="{FF2B5EF4-FFF2-40B4-BE49-F238E27FC236}">
                <a16:creationId xmlns:a16="http://schemas.microsoft.com/office/drawing/2014/main" id="{FD469DD0-424D-A5A9-B2C2-1E4EF16C7EA9}"/>
              </a:ext>
            </a:extLst>
          </p:cNvPr>
          <p:cNvSpPr txBox="1"/>
          <p:nvPr/>
        </p:nvSpPr>
        <p:spPr>
          <a:xfrm>
            <a:off x="4885360" y="3344232"/>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Travel</a:t>
            </a:r>
          </a:p>
        </p:txBody>
      </p:sp>
      <p:sp>
        <p:nvSpPr>
          <p:cNvPr id="11" name="TextBox 10">
            <a:extLst>
              <a:ext uri="{FF2B5EF4-FFF2-40B4-BE49-F238E27FC236}">
                <a16:creationId xmlns:a16="http://schemas.microsoft.com/office/drawing/2014/main" id="{2CFCED0F-2C7B-9072-B262-46D29B6F6253}"/>
              </a:ext>
            </a:extLst>
          </p:cNvPr>
          <p:cNvSpPr txBox="1"/>
          <p:nvPr/>
        </p:nvSpPr>
        <p:spPr>
          <a:xfrm>
            <a:off x="5736402" y="4010340"/>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Arrival </a:t>
            </a:r>
          </a:p>
        </p:txBody>
      </p:sp>
      <p:grpSp>
        <p:nvGrpSpPr>
          <p:cNvPr id="25" name="Group 24">
            <a:extLst>
              <a:ext uri="{FF2B5EF4-FFF2-40B4-BE49-F238E27FC236}">
                <a16:creationId xmlns:a16="http://schemas.microsoft.com/office/drawing/2014/main" id="{4B4821F0-6A4A-639E-DD13-B9B03F52FF6F}"/>
              </a:ext>
            </a:extLst>
          </p:cNvPr>
          <p:cNvGrpSpPr/>
          <p:nvPr/>
        </p:nvGrpSpPr>
        <p:grpSpPr>
          <a:xfrm>
            <a:off x="6729573" y="2145587"/>
            <a:ext cx="4640495" cy="2547991"/>
            <a:chOff x="7130265" y="2135312"/>
            <a:chExt cx="4640495" cy="2547991"/>
          </a:xfrm>
        </p:grpSpPr>
        <p:sp>
          <p:nvSpPr>
            <p:cNvPr id="6" name="Rectangle 5">
              <a:extLst>
                <a:ext uri="{FF2B5EF4-FFF2-40B4-BE49-F238E27FC236}">
                  <a16:creationId xmlns:a16="http://schemas.microsoft.com/office/drawing/2014/main" id="{F6E97923-2A72-6D53-65E1-A417B7F9F5D1}"/>
                </a:ext>
              </a:extLst>
            </p:cNvPr>
            <p:cNvSpPr/>
            <p:nvPr/>
          </p:nvSpPr>
          <p:spPr>
            <a:xfrm>
              <a:off x="7130265" y="2135312"/>
              <a:ext cx="4602821" cy="25479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2" name="TextBox 11">
              <a:extLst>
                <a:ext uri="{FF2B5EF4-FFF2-40B4-BE49-F238E27FC236}">
                  <a16:creationId xmlns:a16="http://schemas.microsoft.com/office/drawing/2014/main" id="{10502162-D4DB-E287-D210-52E153EF9A3B}"/>
                </a:ext>
              </a:extLst>
            </p:cNvPr>
            <p:cNvSpPr txBox="1"/>
            <p:nvPr/>
          </p:nvSpPr>
          <p:spPr>
            <a:xfrm>
              <a:off x="7460748" y="4255214"/>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Signage</a:t>
              </a:r>
            </a:p>
          </p:txBody>
        </p:sp>
        <p:sp>
          <p:nvSpPr>
            <p:cNvPr id="13" name="TextBox 12">
              <a:extLst>
                <a:ext uri="{FF2B5EF4-FFF2-40B4-BE49-F238E27FC236}">
                  <a16:creationId xmlns:a16="http://schemas.microsoft.com/office/drawing/2014/main" id="{F7055137-1C90-C215-6407-6F75FEA18F11}"/>
                </a:ext>
              </a:extLst>
            </p:cNvPr>
            <p:cNvSpPr txBox="1"/>
            <p:nvPr/>
          </p:nvSpPr>
          <p:spPr>
            <a:xfrm>
              <a:off x="7818633" y="3359650"/>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Posters </a:t>
              </a:r>
            </a:p>
          </p:txBody>
        </p:sp>
        <p:sp>
          <p:nvSpPr>
            <p:cNvPr id="14" name="TextBox 13">
              <a:extLst>
                <a:ext uri="{FF2B5EF4-FFF2-40B4-BE49-F238E27FC236}">
                  <a16:creationId xmlns:a16="http://schemas.microsoft.com/office/drawing/2014/main" id="{B1DCE7A1-2C3B-F3B5-8AE4-FE5155203A34}"/>
                </a:ext>
              </a:extLst>
            </p:cNvPr>
            <p:cNvSpPr txBox="1"/>
            <p:nvPr/>
          </p:nvSpPr>
          <p:spPr>
            <a:xfrm>
              <a:off x="8659402" y="2741489"/>
              <a:ext cx="65754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Displays</a:t>
              </a:r>
            </a:p>
          </p:txBody>
        </p:sp>
        <p:sp>
          <p:nvSpPr>
            <p:cNvPr id="15" name="TextBox 14">
              <a:extLst>
                <a:ext uri="{FF2B5EF4-FFF2-40B4-BE49-F238E27FC236}">
                  <a16:creationId xmlns:a16="http://schemas.microsoft.com/office/drawing/2014/main" id="{CFB4FFE4-38DC-D6D9-16CF-C1DDB693CECF}"/>
                </a:ext>
              </a:extLst>
            </p:cNvPr>
            <p:cNvSpPr txBox="1"/>
            <p:nvPr/>
          </p:nvSpPr>
          <p:spPr>
            <a:xfrm>
              <a:off x="9448799" y="3089097"/>
              <a:ext cx="86645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Promotions</a:t>
              </a:r>
            </a:p>
          </p:txBody>
        </p:sp>
        <p:sp>
          <p:nvSpPr>
            <p:cNvPr id="16" name="TextBox 15">
              <a:extLst>
                <a:ext uri="{FF2B5EF4-FFF2-40B4-BE49-F238E27FC236}">
                  <a16:creationId xmlns:a16="http://schemas.microsoft.com/office/drawing/2014/main" id="{18E408D6-D71D-0BE0-09A3-6944DDDA97AF}"/>
                </a:ext>
              </a:extLst>
            </p:cNvPr>
            <p:cNvSpPr txBox="1"/>
            <p:nvPr/>
          </p:nvSpPr>
          <p:spPr>
            <a:xfrm>
              <a:off x="10176552" y="3477803"/>
              <a:ext cx="86645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Category </a:t>
              </a:r>
            </a:p>
          </p:txBody>
        </p:sp>
        <p:sp>
          <p:nvSpPr>
            <p:cNvPr id="17" name="TextBox 16">
              <a:extLst>
                <a:ext uri="{FF2B5EF4-FFF2-40B4-BE49-F238E27FC236}">
                  <a16:creationId xmlns:a16="http://schemas.microsoft.com/office/drawing/2014/main" id="{40E0704C-C432-CB32-D0B3-22A48121AB46}"/>
                </a:ext>
              </a:extLst>
            </p:cNvPr>
            <p:cNvSpPr txBox="1"/>
            <p:nvPr/>
          </p:nvSpPr>
          <p:spPr>
            <a:xfrm>
              <a:off x="10904306" y="4102816"/>
              <a:ext cx="86645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ato Light"/>
                  <a:ea typeface="+mn-ea"/>
                  <a:cs typeface="+mn-cs"/>
                </a:rPr>
                <a:t>Check out </a:t>
              </a:r>
            </a:p>
          </p:txBody>
        </p:sp>
      </p:grpSp>
      <p:sp>
        <p:nvSpPr>
          <p:cNvPr id="18" name="Arrow: Pentagon 17">
            <a:extLst>
              <a:ext uri="{FF2B5EF4-FFF2-40B4-BE49-F238E27FC236}">
                <a16:creationId xmlns:a16="http://schemas.microsoft.com/office/drawing/2014/main" id="{0B132E61-1D39-D2F8-CED5-9FD014F99FE3}"/>
              </a:ext>
            </a:extLst>
          </p:cNvPr>
          <p:cNvSpPr/>
          <p:nvPr/>
        </p:nvSpPr>
        <p:spPr>
          <a:xfrm>
            <a:off x="2126751" y="4777483"/>
            <a:ext cx="4602821" cy="760287"/>
          </a:xfrm>
          <a:prstGeom prst="homePlate">
            <a:avLst/>
          </a:prstGeom>
          <a:gradFill>
            <a:gsLst>
              <a:gs pos="53000">
                <a:schemeClr val="bg1">
                  <a:alpha val="29000"/>
                  <a:lumMod val="58000"/>
                </a:schemeClr>
              </a:gs>
              <a:gs pos="0">
                <a:schemeClr val="bg1">
                  <a:lumMod val="85000"/>
                </a:schemeClr>
              </a:gs>
              <a:gs pos="100000">
                <a:schemeClr val="accent1">
                  <a:lumMod val="45000"/>
                  <a:lumOff val="55000"/>
                </a:schemeClr>
              </a:gs>
              <a:gs pos="100000">
                <a:schemeClr val="bg1">
                  <a:lumMod val="65000"/>
                </a:schemeClr>
              </a:gs>
              <a:gs pos="100000">
                <a:schemeClr val="accent1">
                  <a:lumMod val="30000"/>
                  <a:lumOff val="70000"/>
                </a:schemeClr>
              </a:gs>
            </a:gsLst>
            <a:lin ang="7800000" scaled="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9" name="Arrow: Pentagon 18">
            <a:extLst>
              <a:ext uri="{FF2B5EF4-FFF2-40B4-BE49-F238E27FC236}">
                <a16:creationId xmlns:a16="http://schemas.microsoft.com/office/drawing/2014/main" id="{397FEB47-DC03-15A1-B2FA-F07869F30224}"/>
              </a:ext>
            </a:extLst>
          </p:cNvPr>
          <p:cNvSpPr/>
          <p:nvPr/>
        </p:nvSpPr>
        <p:spPr>
          <a:xfrm>
            <a:off x="6801494" y="4755222"/>
            <a:ext cx="4703851" cy="760287"/>
          </a:xfrm>
          <a:prstGeom prst="homePlate">
            <a:avLst/>
          </a:prstGeom>
          <a:gradFill>
            <a:gsLst>
              <a:gs pos="53000">
                <a:schemeClr val="bg1">
                  <a:alpha val="29000"/>
                  <a:lumMod val="58000"/>
                </a:schemeClr>
              </a:gs>
              <a:gs pos="0">
                <a:schemeClr val="bg1">
                  <a:lumMod val="85000"/>
                </a:schemeClr>
              </a:gs>
              <a:gs pos="100000">
                <a:schemeClr val="accent1">
                  <a:lumMod val="45000"/>
                  <a:lumOff val="55000"/>
                </a:schemeClr>
              </a:gs>
              <a:gs pos="100000">
                <a:schemeClr val="bg1">
                  <a:lumMod val="65000"/>
                </a:schemeClr>
              </a:gs>
              <a:gs pos="100000">
                <a:schemeClr val="accent1">
                  <a:lumMod val="30000"/>
                  <a:lumOff val="70000"/>
                </a:schemeClr>
              </a:gs>
            </a:gsLst>
            <a:lin ang="7800000" scaled="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20" name="TextBox 19">
            <a:extLst>
              <a:ext uri="{FF2B5EF4-FFF2-40B4-BE49-F238E27FC236}">
                <a16:creationId xmlns:a16="http://schemas.microsoft.com/office/drawing/2014/main" id="{095BECB0-D0E0-0417-038F-BD868C701851}"/>
              </a:ext>
            </a:extLst>
          </p:cNvPr>
          <p:cNvSpPr txBox="1"/>
          <p:nvPr/>
        </p:nvSpPr>
        <p:spPr>
          <a:xfrm>
            <a:off x="3543757" y="4969267"/>
            <a:ext cx="2900855" cy="307777"/>
          </a:xfrm>
          <a:prstGeom prst="rect">
            <a:avLst/>
          </a:prstGeom>
          <a:noFill/>
        </p:spPr>
        <p:txBody>
          <a:bodyPr wrap="square" rtlCol="0">
            <a:spAutoFit/>
          </a:bodyPr>
          <a:lstStyle>
            <a:defPPr>
              <a:defRPr lang="en-US"/>
            </a:defPPr>
            <a:lvl1pPr>
              <a:defRPr sz="1400" i="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prstClr val="black"/>
                </a:solidFill>
                <a:effectLst/>
                <a:uLnTx/>
                <a:uFillTx/>
                <a:latin typeface="Lato Light"/>
                <a:ea typeface="+mn-ea"/>
                <a:cs typeface="+mn-cs"/>
              </a:rPr>
              <a:t>Purchase Engagement creation</a:t>
            </a:r>
          </a:p>
        </p:txBody>
      </p:sp>
      <p:sp>
        <p:nvSpPr>
          <p:cNvPr id="21" name="TextBox 20">
            <a:extLst>
              <a:ext uri="{FF2B5EF4-FFF2-40B4-BE49-F238E27FC236}">
                <a16:creationId xmlns:a16="http://schemas.microsoft.com/office/drawing/2014/main" id="{9F799968-33BA-7FA1-D543-0825616EAE67}"/>
              </a:ext>
            </a:extLst>
          </p:cNvPr>
          <p:cNvSpPr txBox="1"/>
          <p:nvPr/>
        </p:nvSpPr>
        <p:spPr>
          <a:xfrm>
            <a:off x="7202184" y="4992472"/>
            <a:ext cx="45616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prstClr val="black"/>
                </a:solidFill>
                <a:effectLst/>
                <a:uLnTx/>
                <a:uFillTx/>
                <a:latin typeface="Lato Light"/>
                <a:ea typeface="+mn-ea"/>
                <a:cs typeface="+mn-cs"/>
              </a:rPr>
              <a:t>Purchase Engagement creation &amp; Altered behaviour</a:t>
            </a:r>
          </a:p>
        </p:txBody>
      </p:sp>
      <p:sp>
        <p:nvSpPr>
          <p:cNvPr id="22" name="TextBox 21">
            <a:extLst>
              <a:ext uri="{FF2B5EF4-FFF2-40B4-BE49-F238E27FC236}">
                <a16:creationId xmlns:a16="http://schemas.microsoft.com/office/drawing/2014/main" id="{FC9781B6-EC0F-39DA-4896-5ED14661CE36}"/>
              </a:ext>
            </a:extLst>
          </p:cNvPr>
          <p:cNvSpPr txBox="1"/>
          <p:nvPr/>
        </p:nvSpPr>
        <p:spPr>
          <a:xfrm rot="16200000">
            <a:off x="420748" y="2974345"/>
            <a:ext cx="2502273" cy="898518"/>
          </a:xfrm>
          <a:prstGeom prst="rect">
            <a:avLst/>
          </a:prstGeom>
          <a:gradFill>
            <a:gsLst>
              <a:gs pos="53000">
                <a:schemeClr val="bg1">
                  <a:alpha val="29000"/>
                  <a:lumMod val="58000"/>
                </a:schemeClr>
              </a:gs>
              <a:gs pos="0">
                <a:schemeClr val="bg1">
                  <a:lumMod val="85000"/>
                </a:schemeClr>
              </a:gs>
              <a:gs pos="100000">
                <a:schemeClr val="accent1">
                  <a:lumMod val="45000"/>
                  <a:lumOff val="55000"/>
                </a:schemeClr>
              </a:gs>
              <a:gs pos="100000">
                <a:schemeClr val="bg1">
                  <a:lumMod val="65000"/>
                </a:schemeClr>
              </a:gs>
              <a:gs pos="100000">
                <a:schemeClr val="accent1">
                  <a:lumMod val="30000"/>
                  <a:lumOff val="70000"/>
                </a:schemeClr>
              </a:gs>
            </a:gsLst>
            <a:lin ang="7800000" scaled="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Lato Light"/>
                <a:ea typeface="+mn-ea"/>
                <a:cs typeface="+mn-cs"/>
              </a:rPr>
              <a:t>Communication Engagement</a:t>
            </a:r>
          </a:p>
        </p:txBody>
      </p:sp>
      <p:sp>
        <p:nvSpPr>
          <p:cNvPr id="23" name="TextBox 22">
            <a:extLst>
              <a:ext uri="{FF2B5EF4-FFF2-40B4-BE49-F238E27FC236}">
                <a16:creationId xmlns:a16="http://schemas.microsoft.com/office/drawing/2014/main" id="{7D46346C-DCB1-FF88-5067-8A48D937C0AD}"/>
              </a:ext>
            </a:extLst>
          </p:cNvPr>
          <p:cNvSpPr txBox="1"/>
          <p:nvPr/>
        </p:nvSpPr>
        <p:spPr>
          <a:xfrm>
            <a:off x="297951" y="4752864"/>
            <a:ext cx="1783680" cy="1113679"/>
          </a:xfrm>
          <a:prstGeom prst="rect">
            <a:avLst/>
          </a:prstGeom>
          <a:gradFill>
            <a:gsLst>
              <a:gs pos="53000">
                <a:schemeClr val="bg1">
                  <a:alpha val="29000"/>
                  <a:lumMod val="58000"/>
                </a:schemeClr>
              </a:gs>
              <a:gs pos="0">
                <a:schemeClr val="bg1">
                  <a:lumMod val="85000"/>
                </a:schemeClr>
              </a:gs>
              <a:gs pos="100000">
                <a:schemeClr val="accent1">
                  <a:lumMod val="45000"/>
                  <a:lumOff val="55000"/>
                </a:schemeClr>
              </a:gs>
              <a:gs pos="100000">
                <a:schemeClr val="bg1">
                  <a:lumMod val="65000"/>
                </a:schemeClr>
              </a:gs>
              <a:gs pos="100000">
                <a:schemeClr val="accent1">
                  <a:lumMod val="30000"/>
                  <a:lumOff val="70000"/>
                </a:schemeClr>
              </a:gs>
            </a:gsLst>
            <a:lin ang="7800000" scaled="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Lato Light"/>
                <a:ea typeface="+mn-ea"/>
                <a:cs typeface="+mn-cs"/>
              </a:rPr>
              <a:t>TM Objective </a:t>
            </a:r>
          </a:p>
        </p:txBody>
      </p:sp>
      <mc:AlternateContent xmlns:mc="http://schemas.openxmlformats.org/markup-compatibility/2006" xmlns:p14="http://schemas.microsoft.com/office/powerpoint/2010/main">
        <mc:Choice Requires="p14">
          <p:contentPart p14:bwMode="auto" r:id="rId3">
            <p14:nvContentPartPr>
              <p14:cNvPr id="29" name="Ink 28">
                <a:extLst>
                  <a:ext uri="{FF2B5EF4-FFF2-40B4-BE49-F238E27FC236}">
                    <a16:creationId xmlns:a16="http://schemas.microsoft.com/office/drawing/2014/main" id="{7A558C3B-03C3-6D6D-1F7E-E1BC33D0E1C5}"/>
                  </a:ext>
                </a:extLst>
              </p14:cNvPr>
              <p14:cNvContentPartPr/>
              <p14:nvPr/>
            </p14:nvContentPartPr>
            <p14:xfrm>
              <a:off x="2404132" y="2972783"/>
              <a:ext cx="8773560" cy="1460520"/>
            </p14:xfrm>
          </p:contentPart>
        </mc:Choice>
        <mc:Fallback xmlns="">
          <p:pic>
            <p:nvPicPr>
              <p:cNvPr id="29" name="Ink 28">
                <a:extLst>
                  <a:ext uri="{FF2B5EF4-FFF2-40B4-BE49-F238E27FC236}">
                    <a16:creationId xmlns:a16="http://schemas.microsoft.com/office/drawing/2014/main" id="{7A558C3B-03C3-6D6D-1F7E-E1BC33D0E1C5}"/>
                  </a:ext>
                </a:extLst>
              </p:cNvPr>
              <p:cNvPicPr/>
              <p:nvPr/>
            </p:nvPicPr>
            <p:blipFill>
              <a:blip r:embed="rId4"/>
              <a:stretch>
                <a:fillRect/>
              </a:stretch>
            </p:blipFill>
            <p:spPr>
              <a:xfrm>
                <a:off x="2395132" y="2964143"/>
                <a:ext cx="8791200" cy="1478160"/>
              </a:xfrm>
              <a:prstGeom prst="rect">
                <a:avLst/>
              </a:prstGeom>
            </p:spPr>
          </p:pic>
        </mc:Fallback>
      </mc:AlternateContent>
      <p:cxnSp>
        <p:nvCxnSpPr>
          <p:cNvPr id="33" name="Straight Connector 32">
            <a:extLst>
              <a:ext uri="{FF2B5EF4-FFF2-40B4-BE49-F238E27FC236}">
                <a16:creationId xmlns:a16="http://schemas.microsoft.com/office/drawing/2014/main" id="{1F8AFD4F-14A0-9507-D224-4F2E9C8BBDAD}"/>
              </a:ext>
            </a:extLst>
          </p:cNvPr>
          <p:cNvCxnSpPr>
            <a:cxnSpLocks/>
          </p:cNvCxnSpPr>
          <p:nvPr/>
        </p:nvCxnSpPr>
        <p:spPr>
          <a:xfrm>
            <a:off x="6688476" y="2235099"/>
            <a:ext cx="0" cy="239293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41351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D528109-0718-3BFA-5435-9020E3999ECD}"/>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Communication Plans </a:t>
            </a:r>
          </a:p>
        </p:txBody>
      </p:sp>
      <p:graphicFrame>
        <p:nvGraphicFramePr>
          <p:cNvPr id="4" name="Table 3">
            <a:extLst>
              <a:ext uri="{FF2B5EF4-FFF2-40B4-BE49-F238E27FC236}">
                <a16:creationId xmlns:a16="http://schemas.microsoft.com/office/drawing/2014/main" id="{53B330C3-782C-FA59-AE7A-AD12430D187C}"/>
              </a:ext>
            </a:extLst>
          </p:cNvPr>
          <p:cNvGraphicFramePr>
            <a:graphicFrameLocks noGrp="1"/>
          </p:cNvGraphicFramePr>
          <p:nvPr>
            <p:extLst>
              <p:ext uri="{D42A27DB-BD31-4B8C-83A1-F6EECF244321}">
                <p14:modId xmlns:p14="http://schemas.microsoft.com/office/powerpoint/2010/main" val="3127779001"/>
              </p:ext>
            </p:extLst>
          </p:nvPr>
        </p:nvGraphicFramePr>
        <p:xfrm>
          <a:off x="561787" y="1409947"/>
          <a:ext cx="10984755" cy="3337560"/>
        </p:xfrm>
        <a:graphic>
          <a:graphicData uri="http://schemas.openxmlformats.org/drawingml/2006/table">
            <a:tbl>
              <a:tblPr firstRow="1" bandRow="1">
                <a:tableStyleId>{5C22544A-7EE6-4342-B048-85BDC9FD1C3A}</a:tableStyleId>
              </a:tblPr>
              <a:tblGrid>
                <a:gridCol w="2196951">
                  <a:extLst>
                    <a:ext uri="{9D8B030D-6E8A-4147-A177-3AD203B41FA5}">
                      <a16:colId xmlns:a16="http://schemas.microsoft.com/office/drawing/2014/main" val="1070874084"/>
                    </a:ext>
                  </a:extLst>
                </a:gridCol>
                <a:gridCol w="2196951">
                  <a:extLst>
                    <a:ext uri="{9D8B030D-6E8A-4147-A177-3AD203B41FA5}">
                      <a16:colId xmlns:a16="http://schemas.microsoft.com/office/drawing/2014/main" val="1430848293"/>
                    </a:ext>
                  </a:extLst>
                </a:gridCol>
                <a:gridCol w="2196951">
                  <a:extLst>
                    <a:ext uri="{9D8B030D-6E8A-4147-A177-3AD203B41FA5}">
                      <a16:colId xmlns:a16="http://schemas.microsoft.com/office/drawing/2014/main" val="2857393802"/>
                    </a:ext>
                  </a:extLst>
                </a:gridCol>
                <a:gridCol w="2196951">
                  <a:extLst>
                    <a:ext uri="{9D8B030D-6E8A-4147-A177-3AD203B41FA5}">
                      <a16:colId xmlns:a16="http://schemas.microsoft.com/office/drawing/2014/main" val="829746353"/>
                    </a:ext>
                  </a:extLst>
                </a:gridCol>
                <a:gridCol w="2196951">
                  <a:extLst>
                    <a:ext uri="{9D8B030D-6E8A-4147-A177-3AD203B41FA5}">
                      <a16:colId xmlns:a16="http://schemas.microsoft.com/office/drawing/2014/main" val="4166338580"/>
                    </a:ext>
                  </a:extLst>
                </a:gridCol>
              </a:tblGrid>
              <a:tr h="370840">
                <a:tc>
                  <a:txBody>
                    <a:bodyPr/>
                    <a:lstStyle/>
                    <a:p>
                      <a:pPr algn="ctr"/>
                      <a:r>
                        <a:rPr lang="en-GB" dirty="0"/>
                        <a:t>Brand </a:t>
                      </a:r>
                    </a:p>
                  </a:txBody>
                  <a:tcPr/>
                </a:tc>
                <a:tc>
                  <a:txBody>
                    <a:bodyPr/>
                    <a:lstStyle/>
                    <a:p>
                      <a:pPr algn="ctr"/>
                      <a:r>
                        <a:rPr lang="en-GB" dirty="0"/>
                        <a:t>Account </a:t>
                      </a:r>
                    </a:p>
                  </a:txBody>
                  <a:tcPr/>
                </a:tc>
                <a:tc>
                  <a:txBody>
                    <a:bodyPr/>
                    <a:lstStyle/>
                    <a:p>
                      <a:pPr algn="ctr"/>
                      <a:r>
                        <a:rPr lang="en-GB" dirty="0"/>
                        <a:t>Message</a:t>
                      </a:r>
                    </a:p>
                  </a:txBody>
                  <a:tcPr/>
                </a:tc>
                <a:tc>
                  <a:txBody>
                    <a:bodyPr/>
                    <a:lstStyle/>
                    <a:p>
                      <a:pPr algn="ctr"/>
                      <a:r>
                        <a:rPr lang="en-GB" dirty="0"/>
                        <a:t>Staff Training</a:t>
                      </a:r>
                    </a:p>
                  </a:txBody>
                  <a:tcPr/>
                </a:tc>
                <a:tc>
                  <a:txBody>
                    <a:bodyPr/>
                    <a:lstStyle/>
                    <a:p>
                      <a:pPr algn="ctr"/>
                      <a:r>
                        <a:rPr lang="en-GB" dirty="0"/>
                        <a:t>Objective </a:t>
                      </a:r>
                    </a:p>
                  </a:txBody>
                  <a:tcPr/>
                </a:tc>
                <a:extLst>
                  <a:ext uri="{0D108BD9-81ED-4DB2-BD59-A6C34878D82A}">
                    <a16:rowId xmlns:a16="http://schemas.microsoft.com/office/drawing/2014/main" val="198240568"/>
                  </a:ext>
                </a:extLst>
              </a:tr>
              <a:tr h="370840">
                <a:tc>
                  <a:txBody>
                    <a:bodyPr/>
                    <a:lstStyle/>
                    <a:p>
                      <a:endParaRPr lang="en-GB" dirty="0"/>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358643504"/>
                  </a:ext>
                </a:extLst>
              </a:tr>
              <a:tr h="370840">
                <a:tc>
                  <a:txBody>
                    <a:bodyPr/>
                    <a:lstStyle/>
                    <a:p>
                      <a:endParaRPr lang="en-GB" dirty="0"/>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197298982"/>
                  </a:ext>
                </a:extLst>
              </a:tr>
              <a:tr h="370840">
                <a:tc>
                  <a:txBody>
                    <a:bodyPr/>
                    <a:lstStyle/>
                    <a:p>
                      <a:endParaRPr lang="en-GB" dirty="0"/>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2795706734"/>
                  </a:ext>
                </a:extLst>
              </a:tr>
              <a:tr h="370840">
                <a:tc>
                  <a:txBody>
                    <a:bodyPr/>
                    <a:lstStyle/>
                    <a:p>
                      <a:endParaRPr lang="en-GB" dirty="0"/>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1473473700"/>
                  </a:ext>
                </a:extLst>
              </a:tr>
              <a:tr h="370840">
                <a:tc>
                  <a:txBody>
                    <a:bodyPr/>
                    <a:lstStyle/>
                    <a:p>
                      <a:endParaRPr lang="en-GB" dirty="0"/>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2992300044"/>
                  </a:ext>
                </a:extLst>
              </a:tr>
              <a:tr h="370840">
                <a:tc>
                  <a:txBody>
                    <a:bodyPr/>
                    <a:lstStyle/>
                    <a:p>
                      <a:endParaRPr lang="en-GB"/>
                    </a:p>
                  </a:txBody>
                  <a:tcPr/>
                </a:tc>
                <a:tc>
                  <a:txBody>
                    <a:bodyPr/>
                    <a:lstStyle/>
                    <a:p>
                      <a:endParaRPr lang="en-GB" dirty="0"/>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4156529247"/>
                  </a:ext>
                </a:extLst>
              </a:tr>
              <a:tr h="370840">
                <a:tc>
                  <a:txBody>
                    <a:bodyPr/>
                    <a:lstStyle/>
                    <a:p>
                      <a:endParaRPr lang="en-GB"/>
                    </a:p>
                  </a:txBody>
                  <a:tcPr/>
                </a:tc>
                <a:tc>
                  <a:txBody>
                    <a:bodyPr/>
                    <a:lstStyle/>
                    <a:p>
                      <a:endParaRPr lang="en-GB"/>
                    </a:p>
                  </a:txBody>
                  <a:tcPr/>
                </a:tc>
                <a:tc>
                  <a:txBody>
                    <a:bodyPr/>
                    <a:lstStyle/>
                    <a:p>
                      <a:endParaRPr lang="en-GB" dirty="0"/>
                    </a:p>
                  </a:txBody>
                  <a:tcPr/>
                </a:tc>
                <a:tc>
                  <a:txBody>
                    <a:bodyPr/>
                    <a:lstStyle/>
                    <a:p>
                      <a:endParaRPr lang="en-GB" dirty="0"/>
                    </a:p>
                  </a:txBody>
                  <a:tcPr/>
                </a:tc>
                <a:tc>
                  <a:txBody>
                    <a:bodyPr/>
                    <a:lstStyle/>
                    <a:p>
                      <a:endParaRPr lang="en-GB"/>
                    </a:p>
                  </a:txBody>
                  <a:tcPr/>
                </a:tc>
                <a:extLst>
                  <a:ext uri="{0D108BD9-81ED-4DB2-BD59-A6C34878D82A}">
                    <a16:rowId xmlns:a16="http://schemas.microsoft.com/office/drawing/2014/main" val="4150791194"/>
                  </a:ext>
                </a:extLst>
              </a:tr>
              <a:tr h="370840">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2057091959"/>
                  </a:ext>
                </a:extLst>
              </a:tr>
            </a:tbl>
          </a:graphicData>
        </a:graphic>
      </p:graphicFrame>
      <p:sp>
        <p:nvSpPr>
          <p:cNvPr id="6" name="TextBox 5">
            <a:extLst>
              <a:ext uri="{FF2B5EF4-FFF2-40B4-BE49-F238E27FC236}">
                <a16:creationId xmlns:a16="http://schemas.microsoft.com/office/drawing/2014/main" id="{86D8FA94-2A6D-345D-B6EA-7BDC92D14077}"/>
              </a:ext>
            </a:extLst>
          </p:cNvPr>
          <p:cNvSpPr txBox="1"/>
          <p:nvPr/>
        </p:nvSpPr>
        <p:spPr>
          <a:xfrm>
            <a:off x="614084" y="5030578"/>
            <a:ext cx="6122894" cy="1546577"/>
          </a:xfrm>
          <a:prstGeom prst="rect">
            <a:avLst/>
          </a:prstGeom>
          <a:solidFill>
            <a:schemeClr val="accent3">
              <a:lumMod val="40000"/>
              <a:lumOff val="60000"/>
            </a:schemeClr>
          </a:solidFill>
        </p:spPr>
        <p:txBody>
          <a:bodyPr wrap="square">
            <a:spAutoFit/>
          </a:bodyPr>
          <a:lstStyle/>
          <a:p>
            <a:pPr algn="l"/>
            <a:r>
              <a:rPr lang="en-GB" sz="1050" b="1" i="0" dirty="0">
                <a:effectLst/>
                <a:latin typeface="Söhne"/>
              </a:rPr>
              <a:t>In-Store Experience</a:t>
            </a:r>
            <a:endParaRPr lang="en-GB" sz="1050" b="0" i="0" dirty="0">
              <a:solidFill>
                <a:srgbClr val="374151"/>
              </a:solidFill>
              <a:effectLst/>
              <a:latin typeface="Söhne"/>
            </a:endParaRPr>
          </a:p>
          <a:p>
            <a:pPr algn="l">
              <a:buFont typeface="Arial" panose="020B0604020202020204" pitchFamily="34" charset="0"/>
              <a:buChar char="•"/>
            </a:pPr>
            <a:r>
              <a:rPr lang="en-GB" sz="1050" b="0" i="0" dirty="0">
                <a:solidFill>
                  <a:srgbClr val="374151"/>
                </a:solidFill>
                <a:effectLst/>
                <a:latin typeface="Söhne"/>
              </a:rPr>
              <a:t>Consider how you're in-store environment communicates your brand message.</a:t>
            </a:r>
          </a:p>
          <a:p>
            <a:pPr algn="l">
              <a:buFont typeface="Arial" panose="020B0604020202020204" pitchFamily="34" charset="0"/>
              <a:buChar char="•"/>
            </a:pPr>
            <a:r>
              <a:rPr lang="en-GB" sz="1050" b="0" i="0" dirty="0">
                <a:solidFill>
                  <a:srgbClr val="374151"/>
                </a:solidFill>
                <a:effectLst/>
                <a:latin typeface="Söhne"/>
              </a:rPr>
              <a:t>Implement visual merchandising strategies that align with your brand and product positioning.</a:t>
            </a:r>
          </a:p>
          <a:p>
            <a:pPr algn="l">
              <a:buFont typeface="Arial" panose="020B0604020202020204" pitchFamily="34" charset="0"/>
              <a:buChar char="•"/>
            </a:pPr>
            <a:r>
              <a:rPr lang="en-GB" sz="1050" b="0" i="0" dirty="0">
                <a:solidFill>
                  <a:srgbClr val="374151"/>
                </a:solidFill>
                <a:effectLst/>
                <a:latin typeface="Söhne"/>
              </a:rPr>
              <a:t>Train staff to effectively communicate the brand message and assist customers.</a:t>
            </a:r>
          </a:p>
          <a:p>
            <a:pPr algn="l"/>
            <a:r>
              <a:rPr lang="en-GB" sz="1050" b="1" i="0" dirty="0">
                <a:solidFill>
                  <a:srgbClr val="374151"/>
                </a:solidFill>
                <a:effectLst/>
                <a:latin typeface="Söhne"/>
              </a:rPr>
              <a:t>Communication Objectives:</a:t>
            </a:r>
            <a:endParaRPr lang="en-GB" sz="1050" b="0" i="0" dirty="0">
              <a:solidFill>
                <a:srgbClr val="374151"/>
              </a:solidFill>
              <a:effectLst/>
              <a:latin typeface="Söhne"/>
            </a:endParaRPr>
          </a:p>
          <a:p>
            <a:pPr algn="l">
              <a:buFont typeface="Arial" panose="020B0604020202020204" pitchFamily="34" charset="0"/>
              <a:buChar char="•"/>
            </a:pPr>
            <a:r>
              <a:rPr lang="en-GB" sz="1050" b="0" i="0" dirty="0">
                <a:solidFill>
                  <a:srgbClr val="374151"/>
                </a:solidFill>
                <a:effectLst/>
                <a:latin typeface="Söhne"/>
              </a:rPr>
              <a:t>Clearly state the communication objectives, such as increasing brand awareness, driving sales, or promoting a new product line.</a:t>
            </a:r>
          </a:p>
          <a:p>
            <a:pPr algn="l">
              <a:buFont typeface="Arial" panose="020B0604020202020204" pitchFamily="34" charset="0"/>
              <a:buChar char="•"/>
            </a:pPr>
            <a:r>
              <a:rPr lang="en-GB" sz="1050" b="0" i="0" dirty="0">
                <a:solidFill>
                  <a:srgbClr val="374151"/>
                </a:solidFill>
                <a:effectLst/>
                <a:latin typeface="Söhne"/>
              </a:rPr>
              <a:t>Set measurable goals to evaluate the success of your communication efforts.</a:t>
            </a:r>
          </a:p>
          <a:p>
            <a:pPr algn="l">
              <a:buFont typeface="Arial" panose="020B0604020202020204" pitchFamily="34" charset="0"/>
              <a:buChar char="•"/>
            </a:pPr>
            <a:endParaRPr lang="en-GB" sz="1050" b="0" i="0" dirty="0">
              <a:solidFill>
                <a:srgbClr val="374151"/>
              </a:solidFill>
              <a:effectLst/>
              <a:latin typeface="Söhne"/>
            </a:endParaRPr>
          </a:p>
        </p:txBody>
      </p:sp>
    </p:spTree>
    <p:extLst>
      <p:ext uri="{BB962C8B-B14F-4D97-AF65-F5344CB8AC3E}">
        <p14:creationId xmlns:p14="http://schemas.microsoft.com/office/powerpoint/2010/main" val="7595250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9DDEAE5-8936-32A8-CC29-5033BE3F2752}"/>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POS Plan </a:t>
            </a:r>
          </a:p>
        </p:txBody>
      </p:sp>
      <p:graphicFrame>
        <p:nvGraphicFramePr>
          <p:cNvPr id="4" name="Table 3">
            <a:extLst>
              <a:ext uri="{FF2B5EF4-FFF2-40B4-BE49-F238E27FC236}">
                <a16:creationId xmlns:a16="http://schemas.microsoft.com/office/drawing/2014/main" id="{2EAF1F15-CCCE-E87E-C4BB-A99F9E4988D9}"/>
              </a:ext>
            </a:extLst>
          </p:cNvPr>
          <p:cNvGraphicFramePr>
            <a:graphicFrameLocks noGrp="1"/>
          </p:cNvGraphicFramePr>
          <p:nvPr>
            <p:extLst>
              <p:ext uri="{D42A27DB-BD31-4B8C-83A1-F6EECF244321}">
                <p14:modId xmlns:p14="http://schemas.microsoft.com/office/powerpoint/2010/main" val="796854938"/>
              </p:ext>
            </p:extLst>
          </p:nvPr>
        </p:nvGraphicFramePr>
        <p:xfrm>
          <a:off x="785905" y="1239619"/>
          <a:ext cx="10455840" cy="2966720"/>
        </p:xfrm>
        <a:graphic>
          <a:graphicData uri="http://schemas.openxmlformats.org/drawingml/2006/table">
            <a:tbl>
              <a:tblPr firstRow="1" bandRow="1">
                <a:tableStyleId>{5C22544A-7EE6-4342-B048-85BDC9FD1C3A}</a:tableStyleId>
              </a:tblPr>
              <a:tblGrid>
                <a:gridCol w="1306980">
                  <a:extLst>
                    <a:ext uri="{9D8B030D-6E8A-4147-A177-3AD203B41FA5}">
                      <a16:colId xmlns:a16="http://schemas.microsoft.com/office/drawing/2014/main" val="3631359620"/>
                    </a:ext>
                  </a:extLst>
                </a:gridCol>
                <a:gridCol w="1306980">
                  <a:extLst>
                    <a:ext uri="{9D8B030D-6E8A-4147-A177-3AD203B41FA5}">
                      <a16:colId xmlns:a16="http://schemas.microsoft.com/office/drawing/2014/main" val="3253225219"/>
                    </a:ext>
                  </a:extLst>
                </a:gridCol>
                <a:gridCol w="1306980">
                  <a:extLst>
                    <a:ext uri="{9D8B030D-6E8A-4147-A177-3AD203B41FA5}">
                      <a16:colId xmlns:a16="http://schemas.microsoft.com/office/drawing/2014/main" val="3411427756"/>
                    </a:ext>
                  </a:extLst>
                </a:gridCol>
                <a:gridCol w="1306980">
                  <a:extLst>
                    <a:ext uri="{9D8B030D-6E8A-4147-A177-3AD203B41FA5}">
                      <a16:colId xmlns:a16="http://schemas.microsoft.com/office/drawing/2014/main" val="1860136737"/>
                    </a:ext>
                  </a:extLst>
                </a:gridCol>
                <a:gridCol w="1306980">
                  <a:extLst>
                    <a:ext uri="{9D8B030D-6E8A-4147-A177-3AD203B41FA5}">
                      <a16:colId xmlns:a16="http://schemas.microsoft.com/office/drawing/2014/main" val="2089528102"/>
                    </a:ext>
                  </a:extLst>
                </a:gridCol>
                <a:gridCol w="1306980">
                  <a:extLst>
                    <a:ext uri="{9D8B030D-6E8A-4147-A177-3AD203B41FA5}">
                      <a16:colId xmlns:a16="http://schemas.microsoft.com/office/drawing/2014/main" val="1311061838"/>
                    </a:ext>
                  </a:extLst>
                </a:gridCol>
                <a:gridCol w="1306980">
                  <a:extLst>
                    <a:ext uri="{9D8B030D-6E8A-4147-A177-3AD203B41FA5}">
                      <a16:colId xmlns:a16="http://schemas.microsoft.com/office/drawing/2014/main" val="3958548609"/>
                    </a:ext>
                  </a:extLst>
                </a:gridCol>
                <a:gridCol w="1306980">
                  <a:extLst>
                    <a:ext uri="{9D8B030D-6E8A-4147-A177-3AD203B41FA5}">
                      <a16:colId xmlns:a16="http://schemas.microsoft.com/office/drawing/2014/main" val="476640240"/>
                    </a:ext>
                  </a:extLst>
                </a:gridCol>
              </a:tblGrid>
              <a:tr h="370840">
                <a:tc>
                  <a:txBody>
                    <a:bodyPr/>
                    <a:lstStyle/>
                    <a:p>
                      <a:pPr algn="ctr"/>
                      <a:r>
                        <a:rPr lang="en-GB" sz="1000" dirty="0"/>
                        <a:t>Brand </a:t>
                      </a:r>
                    </a:p>
                  </a:txBody>
                  <a:tcPr/>
                </a:tc>
                <a:tc>
                  <a:txBody>
                    <a:bodyPr/>
                    <a:lstStyle/>
                    <a:p>
                      <a:pPr algn="ctr"/>
                      <a:r>
                        <a:rPr lang="en-GB" sz="1000" dirty="0"/>
                        <a:t>Type</a:t>
                      </a:r>
                    </a:p>
                  </a:txBody>
                  <a:tcPr/>
                </a:tc>
                <a:tc>
                  <a:txBody>
                    <a:bodyPr/>
                    <a:lstStyle/>
                    <a:p>
                      <a:pPr algn="ctr"/>
                      <a:r>
                        <a:rPr lang="en-GB" sz="1000" dirty="0"/>
                        <a:t>Units</a:t>
                      </a:r>
                    </a:p>
                  </a:txBody>
                  <a:tcPr/>
                </a:tc>
                <a:tc>
                  <a:txBody>
                    <a:bodyPr/>
                    <a:lstStyle/>
                    <a:p>
                      <a:pPr algn="ctr"/>
                      <a:r>
                        <a:rPr lang="en-GB" sz="1000" dirty="0"/>
                        <a:t>Unit Costs </a:t>
                      </a:r>
                    </a:p>
                  </a:txBody>
                  <a:tcPr/>
                </a:tc>
                <a:tc>
                  <a:txBody>
                    <a:bodyPr/>
                    <a:lstStyle/>
                    <a:p>
                      <a:pPr algn="ctr"/>
                      <a:r>
                        <a:rPr lang="en-GB" sz="1000" dirty="0"/>
                        <a:t>Volume</a:t>
                      </a:r>
                    </a:p>
                  </a:txBody>
                  <a:tcPr/>
                </a:tc>
                <a:tc>
                  <a:txBody>
                    <a:bodyPr/>
                    <a:lstStyle/>
                    <a:p>
                      <a:pPr algn="ctr"/>
                      <a:r>
                        <a:rPr lang="en-GB" sz="1000" dirty="0"/>
                        <a:t>Total cost </a:t>
                      </a:r>
                    </a:p>
                  </a:txBody>
                  <a:tcPr/>
                </a:tc>
                <a:tc>
                  <a:txBody>
                    <a:bodyPr/>
                    <a:lstStyle/>
                    <a:p>
                      <a:pPr algn="ctr"/>
                      <a:r>
                        <a:rPr lang="en-GB" sz="1000" dirty="0"/>
                        <a:t>Channel </a:t>
                      </a:r>
                    </a:p>
                  </a:txBody>
                  <a:tcPr/>
                </a:tc>
                <a:tc>
                  <a:txBody>
                    <a:bodyPr/>
                    <a:lstStyle/>
                    <a:p>
                      <a:pPr algn="ctr"/>
                      <a:r>
                        <a:rPr lang="en-GB" sz="1000" dirty="0"/>
                        <a:t>Comments </a:t>
                      </a:r>
                    </a:p>
                  </a:txBody>
                  <a:tcPr/>
                </a:tc>
                <a:extLst>
                  <a:ext uri="{0D108BD9-81ED-4DB2-BD59-A6C34878D82A}">
                    <a16:rowId xmlns:a16="http://schemas.microsoft.com/office/drawing/2014/main" val="289815360"/>
                  </a:ext>
                </a:extLst>
              </a:tr>
              <a:tr h="370840">
                <a:tc>
                  <a:txBody>
                    <a:bodyPr/>
                    <a:lstStyle/>
                    <a:p>
                      <a:r>
                        <a:rPr lang="en-GB" sz="1000" dirty="0"/>
                        <a:t>Green </a:t>
                      </a:r>
                    </a:p>
                  </a:txBody>
                  <a:tcPr/>
                </a:tc>
                <a:tc>
                  <a:txBody>
                    <a:bodyPr/>
                    <a:lstStyle/>
                    <a:p>
                      <a:r>
                        <a:rPr lang="en-GB" sz="1000" dirty="0"/>
                        <a:t>Merchandising</a:t>
                      </a:r>
                    </a:p>
                  </a:txBody>
                  <a:tcPr/>
                </a:tc>
                <a:tc>
                  <a:txBody>
                    <a:bodyPr/>
                    <a:lstStyle/>
                    <a:p>
                      <a:endParaRPr lang="en-GB" sz="1000" dirty="0"/>
                    </a:p>
                  </a:txBody>
                  <a:tcPr/>
                </a:tc>
                <a:tc>
                  <a:txBody>
                    <a:bodyPr/>
                    <a:lstStyle/>
                    <a:p>
                      <a:endParaRPr lang="en-GB" sz="1000"/>
                    </a:p>
                  </a:txBody>
                  <a:tcPr/>
                </a:tc>
                <a:tc>
                  <a:txBody>
                    <a:bodyPr/>
                    <a:lstStyle/>
                    <a:p>
                      <a:endParaRPr lang="en-GB" sz="1000"/>
                    </a:p>
                  </a:txBody>
                  <a:tcPr/>
                </a:tc>
                <a:tc>
                  <a:txBody>
                    <a:bodyPr/>
                    <a:lstStyle/>
                    <a:p>
                      <a:endParaRPr lang="en-GB" sz="1000" dirty="0"/>
                    </a:p>
                  </a:txBody>
                  <a:tcPr/>
                </a:tc>
                <a:tc>
                  <a:txBody>
                    <a:bodyPr/>
                    <a:lstStyle/>
                    <a:p>
                      <a:endParaRPr lang="en-GB" sz="1000" dirty="0"/>
                    </a:p>
                  </a:txBody>
                  <a:tcPr/>
                </a:tc>
                <a:tc>
                  <a:txBody>
                    <a:bodyPr/>
                    <a:lstStyle/>
                    <a:p>
                      <a:endParaRPr lang="en-GB" sz="1000" dirty="0"/>
                    </a:p>
                  </a:txBody>
                  <a:tcPr/>
                </a:tc>
                <a:extLst>
                  <a:ext uri="{0D108BD9-81ED-4DB2-BD59-A6C34878D82A}">
                    <a16:rowId xmlns:a16="http://schemas.microsoft.com/office/drawing/2014/main" val="4131308035"/>
                  </a:ext>
                </a:extLst>
              </a:tr>
              <a:tr h="370840">
                <a:tc>
                  <a:txBody>
                    <a:bodyPr/>
                    <a:lstStyle/>
                    <a:p>
                      <a:r>
                        <a:rPr lang="en-GB" sz="1000" dirty="0"/>
                        <a:t>Blue </a:t>
                      </a:r>
                    </a:p>
                  </a:txBody>
                  <a:tcPr/>
                </a:tc>
                <a:tc>
                  <a:txBody>
                    <a:bodyPr/>
                    <a:lstStyle/>
                    <a:p>
                      <a:r>
                        <a:rPr lang="en-GB" sz="1000" dirty="0"/>
                        <a:t>Training </a:t>
                      </a:r>
                    </a:p>
                  </a:txBody>
                  <a:tcPr/>
                </a:tc>
                <a:tc>
                  <a:txBody>
                    <a:bodyPr/>
                    <a:lstStyle/>
                    <a:p>
                      <a:endParaRPr lang="en-GB" sz="1000" dirty="0"/>
                    </a:p>
                  </a:txBody>
                  <a:tcPr/>
                </a:tc>
                <a:tc>
                  <a:txBody>
                    <a:bodyPr/>
                    <a:lstStyle/>
                    <a:p>
                      <a:endParaRPr lang="en-GB" sz="1000" dirty="0"/>
                    </a:p>
                  </a:txBody>
                  <a:tcPr/>
                </a:tc>
                <a:tc>
                  <a:txBody>
                    <a:bodyPr/>
                    <a:lstStyle/>
                    <a:p>
                      <a:endParaRPr lang="en-GB" sz="1000"/>
                    </a:p>
                  </a:txBody>
                  <a:tcPr/>
                </a:tc>
                <a:tc>
                  <a:txBody>
                    <a:bodyPr/>
                    <a:lstStyle/>
                    <a:p>
                      <a:endParaRPr lang="en-GB" sz="1000"/>
                    </a:p>
                  </a:txBody>
                  <a:tcPr/>
                </a:tc>
                <a:tc>
                  <a:txBody>
                    <a:bodyPr/>
                    <a:lstStyle/>
                    <a:p>
                      <a:endParaRPr lang="en-GB" sz="1000"/>
                    </a:p>
                  </a:txBody>
                  <a:tcPr/>
                </a:tc>
                <a:tc>
                  <a:txBody>
                    <a:bodyPr/>
                    <a:lstStyle/>
                    <a:p>
                      <a:endParaRPr lang="en-GB" sz="1000"/>
                    </a:p>
                  </a:txBody>
                  <a:tcPr/>
                </a:tc>
                <a:extLst>
                  <a:ext uri="{0D108BD9-81ED-4DB2-BD59-A6C34878D82A}">
                    <a16:rowId xmlns:a16="http://schemas.microsoft.com/office/drawing/2014/main" val="2892619626"/>
                  </a:ext>
                </a:extLst>
              </a:tr>
              <a:tr h="370840">
                <a:tc>
                  <a:txBody>
                    <a:bodyPr/>
                    <a:lstStyle/>
                    <a:p>
                      <a:r>
                        <a:rPr lang="en-GB" sz="1000" dirty="0"/>
                        <a:t>Red</a:t>
                      </a:r>
                    </a:p>
                  </a:txBody>
                  <a:tcPr/>
                </a:tc>
                <a:tc>
                  <a:txBody>
                    <a:bodyPr/>
                    <a:lstStyle/>
                    <a:p>
                      <a:r>
                        <a:rPr lang="en-GB" sz="1000" dirty="0"/>
                        <a:t>Shelf Talkers</a:t>
                      </a:r>
                    </a:p>
                  </a:txBody>
                  <a:tcPr/>
                </a:tc>
                <a:tc>
                  <a:txBody>
                    <a:bodyPr/>
                    <a:lstStyle/>
                    <a:p>
                      <a:endParaRPr lang="en-GB" sz="1000"/>
                    </a:p>
                  </a:txBody>
                  <a:tcPr/>
                </a:tc>
                <a:tc>
                  <a:txBody>
                    <a:bodyPr/>
                    <a:lstStyle/>
                    <a:p>
                      <a:endParaRPr lang="en-GB" sz="1000" dirty="0"/>
                    </a:p>
                  </a:txBody>
                  <a:tcPr/>
                </a:tc>
                <a:tc>
                  <a:txBody>
                    <a:bodyPr/>
                    <a:lstStyle/>
                    <a:p>
                      <a:endParaRPr lang="en-GB" sz="1000" dirty="0"/>
                    </a:p>
                  </a:txBody>
                  <a:tcPr/>
                </a:tc>
                <a:tc>
                  <a:txBody>
                    <a:bodyPr/>
                    <a:lstStyle/>
                    <a:p>
                      <a:endParaRPr lang="en-GB" sz="1000" dirty="0"/>
                    </a:p>
                  </a:txBody>
                  <a:tcPr/>
                </a:tc>
                <a:tc>
                  <a:txBody>
                    <a:bodyPr/>
                    <a:lstStyle/>
                    <a:p>
                      <a:endParaRPr lang="en-GB" sz="1000" dirty="0"/>
                    </a:p>
                  </a:txBody>
                  <a:tcPr/>
                </a:tc>
                <a:tc>
                  <a:txBody>
                    <a:bodyPr/>
                    <a:lstStyle/>
                    <a:p>
                      <a:endParaRPr lang="en-GB" sz="1000" dirty="0"/>
                    </a:p>
                  </a:txBody>
                  <a:tcPr/>
                </a:tc>
                <a:extLst>
                  <a:ext uri="{0D108BD9-81ED-4DB2-BD59-A6C34878D82A}">
                    <a16:rowId xmlns:a16="http://schemas.microsoft.com/office/drawing/2014/main" val="3862406397"/>
                  </a:ext>
                </a:extLst>
              </a:tr>
              <a:tr h="370840">
                <a:tc>
                  <a:txBody>
                    <a:bodyPr/>
                    <a:lstStyle/>
                    <a:p>
                      <a:r>
                        <a:rPr lang="en-GB" sz="1000" dirty="0"/>
                        <a:t>Red</a:t>
                      </a:r>
                    </a:p>
                  </a:txBody>
                  <a:tcPr/>
                </a:tc>
                <a:tc>
                  <a:txBody>
                    <a:bodyPr/>
                    <a:lstStyle/>
                    <a:p>
                      <a:r>
                        <a:rPr lang="en-GB" sz="1000" dirty="0"/>
                        <a:t>Header Boards </a:t>
                      </a:r>
                    </a:p>
                  </a:txBody>
                  <a:tcPr/>
                </a:tc>
                <a:tc>
                  <a:txBody>
                    <a:bodyPr/>
                    <a:lstStyle/>
                    <a:p>
                      <a:endParaRPr lang="en-GB" sz="1000"/>
                    </a:p>
                  </a:txBody>
                  <a:tcPr/>
                </a:tc>
                <a:tc>
                  <a:txBody>
                    <a:bodyPr/>
                    <a:lstStyle/>
                    <a:p>
                      <a:endParaRPr lang="en-GB" sz="1000"/>
                    </a:p>
                  </a:txBody>
                  <a:tcPr/>
                </a:tc>
                <a:tc>
                  <a:txBody>
                    <a:bodyPr/>
                    <a:lstStyle/>
                    <a:p>
                      <a:endParaRPr lang="en-GB" sz="1000"/>
                    </a:p>
                  </a:txBody>
                  <a:tcPr/>
                </a:tc>
                <a:tc>
                  <a:txBody>
                    <a:bodyPr/>
                    <a:lstStyle/>
                    <a:p>
                      <a:endParaRPr lang="en-GB" sz="1000" dirty="0"/>
                    </a:p>
                  </a:txBody>
                  <a:tcPr/>
                </a:tc>
                <a:tc>
                  <a:txBody>
                    <a:bodyPr/>
                    <a:lstStyle/>
                    <a:p>
                      <a:endParaRPr lang="en-GB" sz="1000" dirty="0"/>
                    </a:p>
                  </a:txBody>
                  <a:tcPr/>
                </a:tc>
                <a:tc>
                  <a:txBody>
                    <a:bodyPr/>
                    <a:lstStyle/>
                    <a:p>
                      <a:endParaRPr lang="en-GB" sz="1000" dirty="0"/>
                    </a:p>
                  </a:txBody>
                  <a:tcPr/>
                </a:tc>
                <a:extLst>
                  <a:ext uri="{0D108BD9-81ED-4DB2-BD59-A6C34878D82A}">
                    <a16:rowId xmlns:a16="http://schemas.microsoft.com/office/drawing/2014/main" val="2223872511"/>
                  </a:ext>
                </a:extLst>
              </a:tr>
              <a:tr h="370840">
                <a:tc>
                  <a:txBody>
                    <a:bodyPr/>
                    <a:lstStyle/>
                    <a:p>
                      <a:r>
                        <a:rPr lang="en-GB" sz="1000" dirty="0"/>
                        <a:t>Red</a:t>
                      </a:r>
                    </a:p>
                  </a:txBody>
                  <a:tcPr/>
                </a:tc>
                <a:tc>
                  <a:txBody>
                    <a:bodyPr/>
                    <a:lstStyle/>
                    <a:p>
                      <a:r>
                        <a:rPr lang="en-GB" sz="1000" dirty="0"/>
                        <a:t>Displays </a:t>
                      </a:r>
                    </a:p>
                  </a:txBody>
                  <a:tcPr/>
                </a:tc>
                <a:tc>
                  <a:txBody>
                    <a:bodyPr/>
                    <a:lstStyle/>
                    <a:p>
                      <a:endParaRPr lang="en-GB" sz="1000"/>
                    </a:p>
                  </a:txBody>
                  <a:tcPr/>
                </a:tc>
                <a:tc>
                  <a:txBody>
                    <a:bodyPr/>
                    <a:lstStyle/>
                    <a:p>
                      <a:endParaRPr lang="en-GB" sz="1000"/>
                    </a:p>
                  </a:txBody>
                  <a:tcPr/>
                </a:tc>
                <a:tc>
                  <a:txBody>
                    <a:bodyPr/>
                    <a:lstStyle/>
                    <a:p>
                      <a:endParaRPr lang="en-GB" sz="1000"/>
                    </a:p>
                  </a:txBody>
                  <a:tcPr/>
                </a:tc>
                <a:tc>
                  <a:txBody>
                    <a:bodyPr/>
                    <a:lstStyle/>
                    <a:p>
                      <a:endParaRPr lang="en-GB" sz="1000" dirty="0"/>
                    </a:p>
                  </a:txBody>
                  <a:tcPr/>
                </a:tc>
                <a:tc>
                  <a:txBody>
                    <a:bodyPr/>
                    <a:lstStyle/>
                    <a:p>
                      <a:endParaRPr lang="en-GB" sz="1000" dirty="0"/>
                    </a:p>
                  </a:txBody>
                  <a:tcPr/>
                </a:tc>
                <a:tc>
                  <a:txBody>
                    <a:bodyPr/>
                    <a:lstStyle/>
                    <a:p>
                      <a:endParaRPr lang="en-GB" sz="1000" dirty="0"/>
                    </a:p>
                  </a:txBody>
                  <a:tcPr/>
                </a:tc>
                <a:extLst>
                  <a:ext uri="{0D108BD9-81ED-4DB2-BD59-A6C34878D82A}">
                    <a16:rowId xmlns:a16="http://schemas.microsoft.com/office/drawing/2014/main" val="606279824"/>
                  </a:ext>
                </a:extLst>
              </a:tr>
              <a:tr h="370840">
                <a:tc>
                  <a:txBody>
                    <a:bodyPr/>
                    <a:lstStyle/>
                    <a:p>
                      <a:r>
                        <a:rPr lang="en-GB" sz="1000" dirty="0"/>
                        <a:t>Red</a:t>
                      </a:r>
                    </a:p>
                  </a:txBody>
                  <a:tcPr/>
                </a:tc>
                <a:tc>
                  <a:txBody>
                    <a:bodyPr/>
                    <a:lstStyle/>
                    <a:p>
                      <a:r>
                        <a:rPr lang="en-GB" sz="1000" dirty="0"/>
                        <a:t>Uniforms </a:t>
                      </a:r>
                    </a:p>
                  </a:txBody>
                  <a:tcPr/>
                </a:tc>
                <a:tc>
                  <a:txBody>
                    <a:bodyPr/>
                    <a:lstStyle/>
                    <a:p>
                      <a:endParaRPr lang="en-GB" sz="1000"/>
                    </a:p>
                  </a:txBody>
                  <a:tcPr/>
                </a:tc>
                <a:tc>
                  <a:txBody>
                    <a:bodyPr/>
                    <a:lstStyle/>
                    <a:p>
                      <a:endParaRPr lang="en-GB" sz="1000"/>
                    </a:p>
                  </a:txBody>
                  <a:tcPr/>
                </a:tc>
                <a:tc>
                  <a:txBody>
                    <a:bodyPr/>
                    <a:lstStyle/>
                    <a:p>
                      <a:endParaRPr lang="en-GB" sz="1000"/>
                    </a:p>
                  </a:txBody>
                  <a:tcPr/>
                </a:tc>
                <a:tc>
                  <a:txBody>
                    <a:bodyPr/>
                    <a:lstStyle/>
                    <a:p>
                      <a:endParaRPr lang="en-GB" sz="1000" dirty="0"/>
                    </a:p>
                  </a:txBody>
                  <a:tcPr/>
                </a:tc>
                <a:tc>
                  <a:txBody>
                    <a:bodyPr/>
                    <a:lstStyle/>
                    <a:p>
                      <a:endParaRPr lang="en-GB" sz="1000" dirty="0"/>
                    </a:p>
                  </a:txBody>
                  <a:tcPr/>
                </a:tc>
                <a:tc>
                  <a:txBody>
                    <a:bodyPr/>
                    <a:lstStyle/>
                    <a:p>
                      <a:endParaRPr lang="en-GB" sz="1000" dirty="0"/>
                    </a:p>
                  </a:txBody>
                  <a:tcPr/>
                </a:tc>
                <a:extLst>
                  <a:ext uri="{0D108BD9-81ED-4DB2-BD59-A6C34878D82A}">
                    <a16:rowId xmlns:a16="http://schemas.microsoft.com/office/drawing/2014/main" val="814639220"/>
                  </a:ext>
                </a:extLst>
              </a:tr>
              <a:tr h="370840">
                <a:tc>
                  <a:txBody>
                    <a:bodyPr/>
                    <a:lstStyle/>
                    <a:p>
                      <a:endParaRPr lang="en-GB" sz="1000" dirty="0"/>
                    </a:p>
                  </a:txBody>
                  <a:tcPr/>
                </a:tc>
                <a:tc>
                  <a:txBody>
                    <a:bodyPr/>
                    <a:lstStyle/>
                    <a:p>
                      <a:endParaRPr lang="en-GB" sz="1000" dirty="0"/>
                    </a:p>
                  </a:txBody>
                  <a:tcPr/>
                </a:tc>
                <a:tc>
                  <a:txBody>
                    <a:bodyPr/>
                    <a:lstStyle/>
                    <a:p>
                      <a:endParaRPr lang="en-GB" sz="1000"/>
                    </a:p>
                  </a:txBody>
                  <a:tcPr/>
                </a:tc>
                <a:tc>
                  <a:txBody>
                    <a:bodyPr/>
                    <a:lstStyle/>
                    <a:p>
                      <a:endParaRPr lang="en-GB" sz="1000" dirty="0"/>
                    </a:p>
                  </a:txBody>
                  <a:tcPr/>
                </a:tc>
                <a:tc>
                  <a:txBody>
                    <a:bodyPr/>
                    <a:lstStyle/>
                    <a:p>
                      <a:endParaRPr lang="en-GB" sz="1000"/>
                    </a:p>
                  </a:txBody>
                  <a:tcPr/>
                </a:tc>
                <a:tc>
                  <a:txBody>
                    <a:bodyPr/>
                    <a:lstStyle/>
                    <a:p>
                      <a:endParaRPr lang="en-GB" sz="1000" dirty="0"/>
                    </a:p>
                  </a:txBody>
                  <a:tcPr/>
                </a:tc>
                <a:tc>
                  <a:txBody>
                    <a:bodyPr/>
                    <a:lstStyle/>
                    <a:p>
                      <a:endParaRPr lang="en-GB" sz="1000" dirty="0"/>
                    </a:p>
                  </a:txBody>
                  <a:tcPr/>
                </a:tc>
                <a:tc>
                  <a:txBody>
                    <a:bodyPr/>
                    <a:lstStyle/>
                    <a:p>
                      <a:endParaRPr lang="en-GB" sz="1000" dirty="0"/>
                    </a:p>
                  </a:txBody>
                  <a:tcPr/>
                </a:tc>
                <a:extLst>
                  <a:ext uri="{0D108BD9-81ED-4DB2-BD59-A6C34878D82A}">
                    <a16:rowId xmlns:a16="http://schemas.microsoft.com/office/drawing/2014/main" val="616491472"/>
                  </a:ext>
                </a:extLst>
              </a:tr>
            </a:tbl>
          </a:graphicData>
        </a:graphic>
      </p:graphicFrame>
      <p:sp>
        <p:nvSpPr>
          <p:cNvPr id="5" name="TextBox 4">
            <a:extLst>
              <a:ext uri="{FF2B5EF4-FFF2-40B4-BE49-F238E27FC236}">
                <a16:creationId xmlns:a16="http://schemas.microsoft.com/office/drawing/2014/main" id="{05B7ACDD-1D79-A518-19D8-F75DD2CC50A7}"/>
              </a:ext>
            </a:extLst>
          </p:cNvPr>
          <p:cNvSpPr txBox="1"/>
          <p:nvPr/>
        </p:nvSpPr>
        <p:spPr>
          <a:xfrm>
            <a:off x="829237" y="4447872"/>
            <a:ext cx="6122894" cy="1969770"/>
          </a:xfrm>
          <a:prstGeom prst="rect">
            <a:avLst/>
          </a:prstGeom>
          <a:solidFill>
            <a:schemeClr val="accent3">
              <a:lumMod val="40000"/>
              <a:lumOff val="60000"/>
            </a:schemeClr>
          </a:solidFill>
        </p:spPr>
        <p:txBody>
          <a:bodyPr wrap="square">
            <a:spAutoFit/>
          </a:bodyPr>
          <a:lstStyle/>
          <a:p>
            <a:pPr algn="l">
              <a:buFont typeface="+mj-lt"/>
              <a:buAutoNum type="arabicPeriod"/>
            </a:pPr>
            <a:r>
              <a:rPr lang="en-GB" sz="700" b="1" i="0" dirty="0">
                <a:solidFill>
                  <a:srgbClr val="374151"/>
                </a:solidFill>
                <a:effectLst/>
                <a:latin typeface="Lato Long"/>
              </a:rPr>
              <a:t>Understand Your Goals:</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Know Your Target Audience:</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Consistent Branding:</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Eye-Catching Design:</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Clarity of Message:</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Placement and Visibility:</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Promotional Offers and Incentives:</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Interactive Elements:</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Product Information</a:t>
            </a:r>
          </a:p>
          <a:p>
            <a:pPr algn="l">
              <a:buFont typeface="+mj-lt"/>
              <a:buAutoNum type="arabicPeriod"/>
            </a:pPr>
            <a:r>
              <a:rPr lang="en-GB" sz="700" b="1" i="0" dirty="0">
                <a:solidFill>
                  <a:srgbClr val="374151"/>
                </a:solidFill>
                <a:effectLst/>
                <a:latin typeface="Lato Long"/>
              </a:rPr>
              <a:t>Seasonal Relevance:</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Durability and Quality:</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Compliance and Regulations:</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Test and Measure:</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Flexibility and Adaptability:</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Collaboration with Retailers:</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Sustainability:</a:t>
            </a:r>
            <a:endParaRPr lang="en-GB" sz="700" b="0" i="0" dirty="0">
              <a:solidFill>
                <a:srgbClr val="374151"/>
              </a:solidFill>
              <a:effectLst/>
              <a:latin typeface="Lato Long"/>
            </a:endParaRPr>
          </a:p>
          <a:p>
            <a:pPr algn="l">
              <a:buFont typeface="+mj-lt"/>
              <a:buAutoNum type="arabicPeriod"/>
            </a:pPr>
            <a:r>
              <a:rPr lang="en-GB" sz="700" b="1" i="0" dirty="0">
                <a:solidFill>
                  <a:srgbClr val="374151"/>
                </a:solidFill>
                <a:effectLst/>
                <a:latin typeface="Lato Long"/>
              </a:rPr>
              <a:t>Training for Staff:</a:t>
            </a:r>
            <a:endParaRPr lang="en-GB" sz="700" b="0" i="0" dirty="0">
              <a:solidFill>
                <a:srgbClr val="374151"/>
              </a:solidFill>
              <a:effectLst/>
              <a:latin typeface="Lato Long"/>
            </a:endParaRPr>
          </a:p>
          <a:p>
            <a:pPr algn="l">
              <a:buFont typeface="Arial" panose="020B0604020202020204" pitchFamily="34" charset="0"/>
              <a:buChar char="•"/>
            </a:pPr>
            <a:endParaRPr lang="en-GB" sz="200" b="0" i="0" dirty="0">
              <a:solidFill>
                <a:srgbClr val="374151"/>
              </a:solidFill>
              <a:effectLst/>
              <a:latin typeface="Lato Long"/>
            </a:endParaRPr>
          </a:p>
        </p:txBody>
      </p:sp>
      <p:sp>
        <p:nvSpPr>
          <p:cNvPr id="6" name="TextBox 5">
            <a:extLst>
              <a:ext uri="{FF2B5EF4-FFF2-40B4-BE49-F238E27FC236}">
                <a16:creationId xmlns:a16="http://schemas.microsoft.com/office/drawing/2014/main" id="{E0196387-5D18-C37A-CF7F-ACAD4AA88504}"/>
              </a:ext>
            </a:extLst>
          </p:cNvPr>
          <p:cNvSpPr txBox="1"/>
          <p:nvPr/>
        </p:nvSpPr>
        <p:spPr>
          <a:xfrm>
            <a:off x="3505201" y="5065058"/>
            <a:ext cx="4885764" cy="600164"/>
          </a:xfrm>
          <a:prstGeom prst="rect">
            <a:avLst/>
          </a:prstGeom>
          <a:solidFill>
            <a:schemeClr val="accent3">
              <a:lumMod val="40000"/>
              <a:lumOff val="60000"/>
            </a:schemeClr>
          </a:solidFill>
        </p:spPr>
        <p:txBody>
          <a:bodyPr wrap="square" rtlCol="0">
            <a:spAutoFit/>
          </a:bodyPr>
          <a:lstStyle/>
          <a:p>
            <a:r>
              <a:rPr lang="en-GB" sz="1100" i="1" dirty="0"/>
              <a:t>This is a 17-point checklist for those embarking on developing a POS plan as studies will show more than 60 % of POS material tends to be outdated , wasted , and not used </a:t>
            </a:r>
          </a:p>
        </p:txBody>
      </p:sp>
    </p:spTree>
    <p:extLst>
      <p:ext uri="{BB962C8B-B14F-4D97-AF65-F5344CB8AC3E}">
        <p14:creationId xmlns:p14="http://schemas.microsoft.com/office/powerpoint/2010/main" val="17679448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1D3B646-7CFF-AC41-DE4E-9384A427EFA7}"/>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High Level Tactical Plan </a:t>
            </a:r>
          </a:p>
        </p:txBody>
      </p:sp>
      <p:graphicFrame>
        <p:nvGraphicFramePr>
          <p:cNvPr id="4" name="Table 3">
            <a:extLst>
              <a:ext uri="{FF2B5EF4-FFF2-40B4-BE49-F238E27FC236}">
                <a16:creationId xmlns:a16="http://schemas.microsoft.com/office/drawing/2014/main" id="{F1E9E4D5-383C-188E-C5A8-E88711FA21BF}"/>
              </a:ext>
            </a:extLst>
          </p:cNvPr>
          <p:cNvGraphicFramePr>
            <a:graphicFrameLocks noGrp="1"/>
          </p:cNvGraphicFramePr>
          <p:nvPr>
            <p:extLst>
              <p:ext uri="{D42A27DB-BD31-4B8C-83A1-F6EECF244321}">
                <p14:modId xmlns:p14="http://schemas.microsoft.com/office/powerpoint/2010/main" val="3838309683"/>
              </p:ext>
            </p:extLst>
          </p:nvPr>
        </p:nvGraphicFramePr>
        <p:xfrm>
          <a:off x="965201" y="1634065"/>
          <a:ext cx="8128001" cy="1854200"/>
        </p:xfrm>
        <a:graphic>
          <a:graphicData uri="http://schemas.openxmlformats.org/drawingml/2006/table">
            <a:tbl>
              <a:tblPr firstRow="1" bandRow="1">
                <a:tableStyleId>{5C22544A-7EE6-4342-B048-85BDC9FD1C3A}</a:tableStyleId>
              </a:tblPr>
              <a:tblGrid>
                <a:gridCol w="1161143">
                  <a:extLst>
                    <a:ext uri="{9D8B030D-6E8A-4147-A177-3AD203B41FA5}">
                      <a16:colId xmlns:a16="http://schemas.microsoft.com/office/drawing/2014/main" val="2762425975"/>
                    </a:ext>
                  </a:extLst>
                </a:gridCol>
                <a:gridCol w="1161143">
                  <a:extLst>
                    <a:ext uri="{9D8B030D-6E8A-4147-A177-3AD203B41FA5}">
                      <a16:colId xmlns:a16="http://schemas.microsoft.com/office/drawing/2014/main" val="3365744340"/>
                    </a:ext>
                  </a:extLst>
                </a:gridCol>
                <a:gridCol w="1161143">
                  <a:extLst>
                    <a:ext uri="{9D8B030D-6E8A-4147-A177-3AD203B41FA5}">
                      <a16:colId xmlns:a16="http://schemas.microsoft.com/office/drawing/2014/main" val="2669674636"/>
                    </a:ext>
                  </a:extLst>
                </a:gridCol>
                <a:gridCol w="1161143">
                  <a:extLst>
                    <a:ext uri="{9D8B030D-6E8A-4147-A177-3AD203B41FA5}">
                      <a16:colId xmlns:a16="http://schemas.microsoft.com/office/drawing/2014/main" val="2669243324"/>
                    </a:ext>
                  </a:extLst>
                </a:gridCol>
                <a:gridCol w="1161143">
                  <a:extLst>
                    <a:ext uri="{9D8B030D-6E8A-4147-A177-3AD203B41FA5}">
                      <a16:colId xmlns:a16="http://schemas.microsoft.com/office/drawing/2014/main" val="771018917"/>
                    </a:ext>
                  </a:extLst>
                </a:gridCol>
                <a:gridCol w="1161143">
                  <a:extLst>
                    <a:ext uri="{9D8B030D-6E8A-4147-A177-3AD203B41FA5}">
                      <a16:colId xmlns:a16="http://schemas.microsoft.com/office/drawing/2014/main" val="130963594"/>
                    </a:ext>
                  </a:extLst>
                </a:gridCol>
                <a:gridCol w="1161143">
                  <a:extLst>
                    <a:ext uri="{9D8B030D-6E8A-4147-A177-3AD203B41FA5}">
                      <a16:colId xmlns:a16="http://schemas.microsoft.com/office/drawing/2014/main" val="426899759"/>
                    </a:ext>
                  </a:extLst>
                </a:gridCol>
              </a:tblGrid>
              <a:tr h="370840">
                <a:tc>
                  <a:txBody>
                    <a:bodyPr/>
                    <a:lstStyle/>
                    <a:p>
                      <a:r>
                        <a:rPr lang="en-GB" dirty="0"/>
                        <a:t>Brand  </a:t>
                      </a:r>
                    </a:p>
                  </a:txBody>
                  <a:tcPr/>
                </a:tc>
                <a:tc>
                  <a:txBody>
                    <a:bodyPr/>
                    <a:lstStyle/>
                    <a:p>
                      <a:r>
                        <a:rPr lang="en-GB" dirty="0"/>
                        <a:t>Channel </a:t>
                      </a:r>
                    </a:p>
                  </a:txBody>
                  <a:tcPr/>
                </a:tc>
                <a:tc>
                  <a:txBody>
                    <a:bodyPr/>
                    <a:lstStyle/>
                    <a:p>
                      <a:r>
                        <a:rPr lang="en-GB" dirty="0"/>
                        <a:t>Account </a:t>
                      </a:r>
                    </a:p>
                  </a:txBody>
                  <a:tcPr/>
                </a:tc>
                <a:tc>
                  <a:txBody>
                    <a:bodyPr/>
                    <a:lstStyle/>
                    <a:p>
                      <a:endParaRPr lang="en-GB" dirty="0"/>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3460249795"/>
                  </a:ext>
                </a:extLst>
              </a:tr>
              <a:tr h="370840">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155799750"/>
                  </a:ext>
                </a:extLst>
              </a:tr>
              <a:tr h="370840">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2212329533"/>
                  </a:ext>
                </a:extLst>
              </a:tr>
              <a:tr h="370840">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540896730"/>
                  </a:ext>
                </a:extLst>
              </a:tr>
              <a:tr h="370840">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1243679316"/>
                  </a:ext>
                </a:extLst>
              </a:tr>
            </a:tbl>
          </a:graphicData>
        </a:graphic>
      </p:graphicFrame>
      <p:sp>
        <p:nvSpPr>
          <p:cNvPr id="5" name="TextBox 4">
            <a:extLst>
              <a:ext uri="{FF2B5EF4-FFF2-40B4-BE49-F238E27FC236}">
                <a16:creationId xmlns:a16="http://schemas.microsoft.com/office/drawing/2014/main" id="{352D2C73-3730-89AE-79A5-4B89DD46EC7E}"/>
              </a:ext>
            </a:extLst>
          </p:cNvPr>
          <p:cNvSpPr txBox="1"/>
          <p:nvPr/>
        </p:nvSpPr>
        <p:spPr>
          <a:xfrm>
            <a:off x="614084" y="5030578"/>
            <a:ext cx="6122894" cy="1384995"/>
          </a:xfrm>
          <a:prstGeom prst="rect">
            <a:avLst/>
          </a:prstGeom>
          <a:solidFill>
            <a:schemeClr val="accent3">
              <a:lumMod val="40000"/>
              <a:lumOff val="60000"/>
            </a:schemeClr>
          </a:solidFill>
        </p:spPr>
        <p:txBody>
          <a:bodyPr wrap="square">
            <a:spAutoFit/>
          </a:bodyPr>
          <a:lstStyle/>
          <a:p>
            <a:pPr algn="l"/>
            <a:r>
              <a:rPr lang="en-GB" sz="1050" b="1" i="0" dirty="0">
                <a:effectLst/>
                <a:latin typeface="Söhne"/>
              </a:rPr>
              <a:t>High Level tactical plans for alignment </a:t>
            </a:r>
            <a:endParaRPr lang="en-GB" sz="1050" b="0" i="0" dirty="0">
              <a:solidFill>
                <a:srgbClr val="374151"/>
              </a:solidFill>
              <a:effectLst/>
              <a:latin typeface="Söhne"/>
            </a:endParaRPr>
          </a:p>
          <a:p>
            <a:pPr algn="l">
              <a:buFont typeface="Arial" panose="020B0604020202020204" pitchFamily="34" charset="0"/>
              <a:buChar char="•"/>
            </a:pPr>
            <a:r>
              <a:rPr lang="en-GB" sz="1050" b="0" i="1" dirty="0">
                <a:solidFill>
                  <a:srgbClr val="374151"/>
                </a:solidFill>
                <a:effectLst/>
                <a:latin typeface="Söhne"/>
              </a:rPr>
              <a:t>Keep brand strategy in mind and align your tactical planning and execution </a:t>
            </a:r>
          </a:p>
          <a:p>
            <a:pPr algn="l">
              <a:buFont typeface="Arial" panose="020B0604020202020204" pitchFamily="34" charset="0"/>
              <a:buChar char="•"/>
            </a:pPr>
            <a:r>
              <a:rPr lang="en-GB" sz="1050" i="1" dirty="0">
                <a:solidFill>
                  <a:srgbClr val="374151"/>
                </a:solidFill>
                <a:latin typeface="Söhne"/>
              </a:rPr>
              <a:t>Your lower-level tactical plans will differ from account to channel and geography at times </a:t>
            </a:r>
          </a:p>
          <a:p>
            <a:pPr algn="l">
              <a:buFont typeface="Arial" panose="020B0604020202020204" pitchFamily="34" charset="0"/>
              <a:buChar char="•"/>
            </a:pPr>
            <a:r>
              <a:rPr lang="en-GB" sz="1050" b="0" i="1" dirty="0">
                <a:solidFill>
                  <a:srgbClr val="374151"/>
                </a:solidFill>
                <a:effectLst/>
                <a:latin typeface="Söhne"/>
              </a:rPr>
              <a:t>Ensure your tactical plans are set up with clear SMART objectives</a:t>
            </a:r>
            <a:endParaRPr lang="en-GB" sz="1050" i="1" dirty="0">
              <a:solidFill>
                <a:srgbClr val="374151"/>
              </a:solidFill>
              <a:latin typeface="Söhne"/>
            </a:endParaRPr>
          </a:p>
          <a:p>
            <a:pPr algn="l">
              <a:buFont typeface="Arial" panose="020B0604020202020204" pitchFamily="34" charset="0"/>
              <a:buChar char="•"/>
            </a:pPr>
            <a:r>
              <a:rPr lang="en-GB" sz="1050" b="0" i="1" dirty="0">
                <a:solidFill>
                  <a:srgbClr val="374151"/>
                </a:solidFill>
                <a:effectLst/>
                <a:latin typeface="Söhne"/>
              </a:rPr>
              <a:t> A list of accounts and plans will be necessary as they will constitute all your resource allocation mainly </a:t>
            </a:r>
          </a:p>
          <a:p>
            <a:pPr algn="l">
              <a:buFont typeface="Arial" panose="020B0604020202020204" pitchFamily="34" charset="0"/>
              <a:buChar char="•"/>
            </a:pPr>
            <a:r>
              <a:rPr lang="en-GB" sz="1050" i="1" dirty="0">
                <a:solidFill>
                  <a:srgbClr val="374151"/>
                </a:solidFill>
                <a:latin typeface="Söhne"/>
              </a:rPr>
              <a:t> There must be some room for tactical plans on an ad hoc basis in case of sudden situations </a:t>
            </a:r>
          </a:p>
          <a:p>
            <a:pPr algn="l">
              <a:buFont typeface="Arial" panose="020B0604020202020204" pitchFamily="34" charset="0"/>
              <a:buChar char="•"/>
            </a:pPr>
            <a:r>
              <a:rPr lang="en-GB" sz="1050" b="0" i="1" dirty="0">
                <a:solidFill>
                  <a:srgbClr val="374151"/>
                </a:solidFill>
                <a:effectLst/>
                <a:latin typeface="Söhne"/>
              </a:rPr>
              <a:t> Trade marketing tactical plans are </a:t>
            </a:r>
            <a:r>
              <a:rPr lang="en-GB" sz="1050" i="1" dirty="0">
                <a:solidFill>
                  <a:srgbClr val="374151"/>
                </a:solidFill>
                <a:latin typeface="Söhne"/>
              </a:rPr>
              <a:t>account and channel focussed and will cover agreed accounts</a:t>
            </a:r>
            <a:endParaRPr lang="en-GB" sz="1050" b="0" i="1" dirty="0">
              <a:solidFill>
                <a:srgbClr val="374151"/>
              </a:solidFill>
              <a:effectLst/>
              <a:latin typeface="Söhne"/>
            </a:endParaRPr>
          </a:p>
          <a:p>
            <a:pPr algn="l">
              <a:buFont typeface="Arial" panose="020B0604020202020204" pitchFamily="34" charset="0"/>
              <a:buChar char="•"/>
            </a:pPr>
            <a:endParaRPr lang="en-GB" sz="1050" b="0" i="0" dirty="0">
              <a:solidFill>
                <a:srgbClr val="374151"/>
              </a:solidFill>
              <a:effectLst/>
              <a:latin typeface="Söhne"/>
            </a:endParaRPr>
          </a:p>
        </p:txBody>
      </p:sp>
      <p:sp>
        <p:nvSpPr>
          <p:cNvPr id="6" name="TextBox 5">
            <a:extLst>
              <a:ext uri="{FF2B5EF4-FFF2-40B4-BE49-F238E27FC236}">
                <a16:creationId xmlns:a16="http://schemas.microsoft.com/office/drawing/2014/main" id="{0CC1AC84-DA33-7BCA-4B75-1DA6837B3467}"/>
              </a:ext>
            </a:extLst>
          </p:cNvPr>
          <p:cNvSpPr txBox="1"/>
          <p:nvPr/>
        </p:nvSpPr>
        <p:spPr>
          <a:xfrm>
            <a:off x="9771531" y="3209365"/>
            <a:ext cx="1864658" cy="3016210"/>
          </a:xfrm>
          <a:prstGeom prst="rect">
            <a:avLst/>
          </a:prstGeom>
          <a:solidFill>
            <a:schemeClr val="accent3">
              <a:lumMod val="40000"/>
              <a:lumOff val="60000"/>
            </a:schemeClr>
          </a:solidFill>
        </p:spPr>
        <p:txBody>
          <a:bodyPr wrap="square" rtlCol="0">
            <a:spAutoFit/>
          </a:bodyPr>
          <a:lstStyle/>
          <a:p>
            <a:r>
              <a:rPr lang="en-GB" sz="1000" b="1" dirty="0"/>
              <a:t>High level plan </a:t>
            </a:r>
          </a:p>
          <a:p>
            <a:r>
              <a:rPr lang="en-GB" sz="1000" i="1" dirty="0"/>
              <a:t>Brand </a:t>
            </a:r>
          </a:p>
          <a:p>
            <a:r>
              <a:rPr lang="en-GB" sz="1000" i="1" dirty="0"/>
              <a:t>Channel </a:t>
            </a:r>
          </a:p>
          <a:p>
            <a:r>
              <a:rPr lang="en-GB" sz="1000" i="1" dirty="0"/>
              <a:t>Budgets</a:t>
            </a:r>
          </a:p>
          <a:p>
            <a:r>
              <a:rPr lang="en-GB" sz="1000" i="1" dirty="0"/>
              <a:t>Promotions </a:t>
            </a:r>
          </a:p>
          <a:p>
            <a:r>
              <a:rPr lang="en-GB" sz="1000" i="1" dirty="0"/>
              <a:t>Resources</a:t>
            </a:r>
          </a:p>
          <a:p>
            <a:r>
              <a:rPr lang="en-GB" sz="1000" i="1" dirty="0"/>
              <a:t>Time Frames</a:t>
            </a:r>
          </a:p>
          <a:p>
            <a:endParaRPr lang="en-GB" sz="1000" i="1" dirty="0"/>
          </a:p>
          <a:p>
            <a:endParaRPr lang="en-GB" sz="1000" i="1" dirty="0"/>
          </a:p>
          <a:p>
            <a:r>
              <a:rPr lang="en-GB" sz="1000" b="1" dirty="0"/>
              <a:t>Low level plan</a:t>
            </a:r>
          </a:p>
          <a:p>
            <a:r>
              <a:rPr lang="en-GB" sz="1000" i="1" dirty="0"/>
              <a:t>Accounts</a:t>
            </a:r>
          </a:p>
          <a:p>
            <a:r>
              <a:rPr lang="en-GB" sz="1000" i="1" dirty="0"/>
              <a:t>Geographies</a:t>
            </a:r>
          </a:p>
          <a:p>
            <a:r>
              <a:rPr lang="en-GB" sz="1000" i="1" dirty="0"/>
              <a:t>Promotion design </a:t>
            </a:r>
          </a:p>
          <a:p>
            <a:r>
              <a:rPr lang="en-GB" sz="1000" i="1" dirty="0"/>
              <a:t>Quantity</a:t>
            </a:r>
          </a:p>
          <a:p>
            <a:r>
              <a:rPr lang="en-GB" sz="1000" i="1" dirty="0"/>
              <a:t>Training</a:t>
            </a:r>
          </a:p>
          <a:p>
            <a:r>
              <a:rPr lang="en-GB" sz="1000" i="1" dirty="0"/>
              <a:t>Time Frames </a:t>
            </a:r>
          </a:p>
          <a:p>
            <a:r>
              <a:rPr lang="en-GB" sz="1000" i="1" dirty="0"/>
              <a:t>Placement</a:t>
            </a:r>
          </a:p>
          <a:p>
            <a:r>
              <a:rPr lang="en-GB" sz="1000" i="1" dirty="0"/>
              <a:t>Agreements</a:t>
            </a:r>
          </a:p>
          <a:p>
            <a:r>
              <a:rPr lang="en-GB" sz="1000" i="1" dirty="0"/>
              <a:t>Calendars </a:t>
            </a:r>
          </a:p>
        </p:txBody>
      </p:sp>
      <p:sp>
        <p:nvSpPr>
          <p:cNvPr id="7" name="TextBox 6">
            <a:extLst>
              <a:ext uri="{FF2B5EF4-FFF2-40B4-BE49-F238E27FC236}">
                <a16:creationId xmlns:a16="http://schemas.microsoft.com/office/drawing/2014/main" id="{AAED53DF-6B5D-5790-8C8C-B7CB9C91B24D}"/>
              </a:ext>
            </a:extLst>
          </p:cNvPr>
          <p:cNvSpPr txBox="1"/>
          <p:nvPr/>
        </p:nvSpPr>
        <p:spPr>
          <a:xfrm>
            <a:off x="9448801" y="1479177"/>
            <a:ext cx="2626658" cy="1015663"/>
          </a:xfrm>
          <a:prstGeom prst="rect">
            <a:avLst/>
          </a:prstGeom>
          <a:solidFill>
            <a:schemeClr val="accent3">
              <a:lumMod val="40000"/>
              <a:lumOff val="60000"/>
            </a:schemeClr>
          </a:solidFill>
        </p:spPr>
        <p:txBody>
          <a:bodyPr wrap="square" rtlCol="0">
            <a:spAutoFit/>
          </a:bodyPr>
          <a:lstStyle/>
          <a:p>
            <a:r>
              <a:rPr lang="en-GB" sz="1200" b="1" i="1" dirty="0"/>
              <a:t>High level plans establish concepts and alignment </a:t>
            </a:r>
          </a:p>
          <a:p>
            <a:endParaRPr lang="en-GB" sz="1200" b="1" i="1" dirty="0"/>
          </a:p>
          <a:p>
            <a:r>
              <a:rPr lang="en-GB" sz="1200" b="1" i="1" dirty="0"/>
              <a:t>Low level plan establish detailed planning and execution </a:t>
            </a:r>
          </a:p>
        </p:txBody>
      </p:sp>
    </p:spTree>
    <p:extLst>
      <p:ext uri="{BB962C8B-B14F-4D97-AF65-F5344CB8AC3E}">
        <p14:creationId xmlns:p14="http://schemas.microsoft.com/office/powerpoint/2010/main" val="2000747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74F001-FFD3-BC29-F928-2438D3530DC3}"/>
              </a:ext>
            </a:extLst>
          </p:cNvPr>
          <p:cNvSpPr txBox="1"/>
          <p:nvPr/>
        </p:nvSpPr>
        <p:spPr>
          <a:xfrm>
            <a:off x="1963703" y="3024811"/>
            <a:ext cx="5918826"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Financials </a:t>
            </a:r>
          </a:p>
        </p:txBody>
      </p:sp>
      <p:graphicFrame>
        <p:nvGraphicFramePr>
          <p:cNvPr id="4" name="Table 5">
            <a:extLst>
              <a:ext uri="{FF2B5EF4-FFF2-40B4-BE49-F238E27FC236}">
                <a16:creationId xmlns:a16="http://schemas.microsoft.com/office/drawing/2014/main" id="{CCCE719E-2CDF-2DD1-59C7-EB18206FC1CC}"/>
              </a:ext>
            </a:extLst>
          </p:cNvPr>
          <p:cNvGraphicFramePr>
            <a:graphicFrameLocks noGrp="1"/>
          </p:cNvGraphicFramePr>
          <p:nvPr>
            <p:extLst>
              <p:ext uri="{D42A27DB-BD31-4B8C-83A1-F6EECF244321}">
                <p14:modId xmlns:p14="http://schemas.microsoft.com/office/powerpoint/2010/main" val="1264073271"/>
              </p:ext>
            </p:extLst>
          </p:nvPr>
        </p:nvGraphicFramePr>
        <p:xfrm>
          <a:off x="7314061" y="59116"/>
          <a:ext cx="4773411" cy="6629400"/>
        </p:xfrm>
        <a:graphic>
          <a:graphicData uri="http://schemas.openxmlformats.org/drawingml/2006/table">
            <a:tbl>
              <a:tblPr firstRow="1" bandRow="1">
                <a:tableStyleId>{5C22544A-7EE6-4342-B048-85BDC9FD1C3A}</a:tableStyleId>
              </a:tblPr>
              <a:tblGrid>
                <a:gridCol w="1011451">
                  <a:extLst>
                    <a:ext uri="{9D8B030D-6E8A-4147-A177-3AD203B41FA5}">
                      <a16:colId xmlns:a16="http://schemas.microsoft.com/office/drawing/2014/main" val="250726202"/>
                    </a:ext>
                  </a:extLst>
                </a:gridCol>
                <a:gridCol w="2849646">
                  <a:extLst>
                    <a:ext uri="{9D8B030D-6E8A-4147-A177-3AD203B41FA5}">
                      <a16:colId xmlns:a16="http://schemas.microsoft.com/office/drawing/2014/main" val="2361609606"/>
                    </a:ext>
                  </a:extLst>
                </a:gridCol>
                <a:gridCol w="912314">
                  <a:extLst>
                    <a:ext uri="{9D8B030D-6E8A-4147-A177-3AD203B41FA5}">
                      <a16:colId xmlns:a16="http://schemas.microsoft.com/office/drawing/2014/main" val="4003720094"/>
                    </a:ext>
                  </a:extLst>
                </a:gridCol>
              </a:tblGrid>
              <a:tr h="215353">
                <a:tc gridSpan="2">
                  <a:txBody>
                    <a:bodyPr/>
                    <a:lstStyle/>
                    <a:p>
                      <a:r>
                        <a:rPr lang="en-GB" sz="900" dirty="0"/>
                        <a:t>Summary </a:t>
                      </a:r>
                    </a:p>
                  </a:txBody>
                  <a:tcPr>
                    <a:solidFill>
                      <a:srgbClr val="DB5000"/>
                    </a:solidFill>
                  </a:tcPr>
                </a:tc>
                <a:tc hMerge="1">
                  <a:txBody>
                    <a:bodyPr/>
                    <a:lstStyle/>
                    <a:p>
                      <a:endParaRPr lang="en-GB" dirty="0"/>
                    </a:p>
                  </a:txBody>
                  <a:tcPr>
                    <a:solidFill>
                      <a:srgbClr val="DB5000"/>
                    </a:solidFill>
                  </a:tcPr>
                </a:tc>
                <a:tc>
                  <a:txBody>
                    <a:bodyPr/>
                    <a:lstStyle/>
                    <a:p>
                      <a:r>
                        <a:rPr lang="en-GB" sz="900" dirty="0"/>
                        <a:t>Page No</a:t>
                      </a:r>
                    </a:p>
                  </a:txBody>
                  <a:tcPr>
                    <a:solidFill>
                      <a:srgbClr val="DB5000"/>
                    </a:solidFill>
                  </a:tcPr>
                </a:tc>
                <a:extLst>
                  <a:ext uri="{0D108BD9-81ED-4DB2-BD59-A6C34878D82A}">
                    <a16:rowId xmlns:a16="http://schemas.microsoft.com/office/drawing/2014/main" val="1379040451"/>
                  </a:ext>
                </a:extLst>
              </a:tr>
              <a:tr h="200061">
                <a:tc>
                  <a:txBody>
                    <a:bodyPr/>
                    <a:lstStyle/>
                    <a:p>
                      <a:r>
                        <a:rPr lang="en-GB" sz="900" b="1" dirty="0">
                          <a:solidFill>
                            <a:schemeClr val="bg1"/>
                          </a:solidFill>
                          <a:latin typeface="Lato Long"/>
                        </a:rPr>
                        <a:t>1.0</a:t>
                      </a:r>
                    </a:p>
                  </a:txBody>
                  <a:tcPr>
                    <a:solidFill>
                      <a:srgbClr val="3984A3"/>
                    </a:solidFill>
                  </a:tcPr>
                </a:tc>
                <a:tc>
                  <a:txBody>
                    <a:bodyPr/>
                    <a:lstStyle/>
                    <a:p>
                      <a:r>
                        <a:rPr lang="en-GB" sz="900" b="1" dirty="0">
                          <a:solidFill>
                            <a:schemeClr val="bg1"/>
                          </a:solidFill>
                          <a:latin typeface="Lato Long"/>
                        </a:rPr>
                        <a:t>Summary </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88537191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Corporate Objectives and Mission Statement</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142382326"/>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Market specific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30397707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ategory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43845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ustomer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9847186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hannel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9018709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Key Opportunities identified (B2B &amp; B2C)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27244981"/>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Priority Categories and Brand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56631578"/>
                  </a:ext>
                </a:extLst>
              </a:tr>
              <a:tr h="200061">
                <a:tc>
                  <a:txBody>
                    <a:bodyPr/>
                    <a:lstStyle/>
                    <a:p>
                      <a:r>
                        <a:rPr lang="en-GB" sz="900" dirty="0">
                          <a:solidFill>
                            <a:schemeClr val="bg1"/>
                          </a:solidFill>
                          <a:latin typeface="Lato Long"/>
                        </a:rPr>
                        <a:t>2.0</a:t>
                      </a:r>
                    </a:p>
                  </a:txBody>
                  <a:tcPr>
                    <a:solidFill>
                      <a:srgbClr val="3984A3"/>
                    </a:solidFill>
                  </a:tcPr>
                </a:tc>
                <a:tc>
                  <a:txBody>
                    <a:bodyPr/>
                    <a:lstStyle/>
                    <a:p>
                      <a:r>
                        <a:rPr lang="en-GB" sz="900" b="1" dirty="0">
                          <a:solidFill>
                            <a:schemeClr val="bg1"/>
                          </a:solidFill>
                          <a:latin typeface="Lato Long"/>
                        </a:rPr>
                        <a:t>Analysi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556882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Market sizing / Channel Sizing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40030120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Key Channels and Customer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6251086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petitive analysi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9047431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Opportunities and threat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191416563"/>
                  </a:ext>
                </a:extLst>
              </a:tr>
              <a:tr h="200061">
                <a:tc>
                  <a:txBody>
                    <a:bodyPr/>
                    <a:lstStyle/>
                    <a:p>
                      <a:r>
                        <a:rPr lang="en-GB" sz="900" dirty="0">
                          <a:solidFill>
                            <a:schemeClr val="bg1"/>
                          </a:solidFill>
                          <a:latin typeface="Lato Long"/>
                        </a:rPr>
                        <a:t>3.0</a:t>
                      </a:r>
                    </a:p>
                  </a:txBody>
                  <a:tcPr>
                    <a:solidFill>
                      <a:srgbClr val="3984A3"/>
                    </a:solidFill>
                  </a:tcPr>
                </a:tc>
                <a:tc>
                  <a:txBody>
                    <a:bodyPr/>
                    <a:lstStyle/>
                    <a:p>
                      <a:r>
                        <a:rPr lang="en-GB" sz="900" b="1" dirty="0">
                          <a:solidFill>
                            <a:schemeClr val="bg1"/>
                          </a:solidFill>
                          <a:latin typeface="Lato Long"/>
                        </a:rPr>
                        <a:t>Resource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5146695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Human resource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3108314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POS Resource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45114604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Investments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32402442"/>
                  </a:ext>
                </a:extLst>
              </a:tr>
              <a:tr h="200061">
                <a:tc>
                  <a:txBody>
                    <a:bodyPr/>
                    <a:lstStyle/>
                    <a:p>
                      <a:r>
                        <a:rPr lang="en-GB" sz="900" dirty="0">
                          <a:solidFill>
                            <a:schemeClr val="bg1"/>
                          </a:solidFill>
                          <a:latin typeface="Lato Long"/>
                        </a:rPr>
                        <a:t>4.0</a:t>
                      </a:r>
                    </a:p>
                  </a:txBody>
                  <a:tcPr>
                    <a:solidFill>
                      <a:srgbClr val="3984A3"/>
                    </a:solidFill>
                  </a:tcPr>
                </a:tc>
                <a:tc>
                  <a:txBody>
                    <a:bodyPr/>
                    <a:lstStyle/>
                    <a:p>
                      <a:r>
                        <a:rPr lang="en-GB" sz="900" b="1" dirty="0">
                          <a:solidFill>
                            <a:schemeClr val="bg1"/>
                          </a:solidFill>
                          <a:latin typeface="Lato Long"/>
                        </a:rPr>
                        <a:t>Tactic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01312479"/>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75000"/>
                              <a:lumOff val="25000"/>
                            </a:schemeClr>
                          </a:solidFill>
                          <a:latin typeface="Lato Long"/>
                        </a:rPr>
                        <a:t>Brands channels and tactic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6304355"/>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Branding Plans</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5008497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munication Plan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90853343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POS Plan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85700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High level tactical calendar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23390391"/>
                  </a:ext>
                </a:extLst>
              </a:tr>
              <a:tr h="200061">
                <a:tc>
                  <a:txBody>
                    <a:bodyPr/>
                    <a:lstStyle/>
                    <a:p>
                      <a:r>
                        <a:rPr lang="en-GB" sz="900" b="1" dirty="0">
                          <a:solidFill>
                            <a:schemeClr val="bg1"/>
                          </a:solidFill>
                          <a:latin typeface="Lato Long"/>
                        </a:rPr>
                        <a:t>5.0</a:t>
                      </a:r>
                    </a:p>
                  </a:txBody>
                  <a:tcPr>
                    <a:solidFill>
                      <a:schemeClr val="accent1"/>
                    </a:solidFill>
                  </a:tcPr>
                </a:tc>
                <a:tc>
                  <a:txBody>
                    <a:bodyPr/>
                    <a:lstStyle/>
                    <a:p>
                      <a:r>
                        <a:rPr lang="en-GB" sz="900" b="1" dirty="0">
                          <a:solidFill>
                            <a:schemeClr val="bg1"/>
                          </a:solidFill>
                          <a:latin typeface="Lato Long"/>
                        </a:rPr>
                        <a:t>P&amp;L</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703129503"/>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P&amp;L</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5752941"/>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Marketing ROI and Ratio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7789640"/>
                  </a:ext>
                </a:extLst>
              </a:tr>
              <a:tr h="200061">
                <a:tc>
                  <a:txBody>
                    <a:bodyPr/>
                    <a:lstStyle/>
                    <a:p>
                      <a:r>
                        <a:rPr lang="en-GB" sz="900" b="1" dirty="0">
                          <a:solidFill>
                            <a:schemeClr val="bg1"/>
                          </a:solidFill>
                          <a:latin typeface="Lato Long"/>
                        </a:rPr>
                        <a:t>6.0</a:t>
                      </a:r>
                    </a:p>
                  </a:txBody>
                  <a:tcPr>
                    <a:solidFill>
                      <a:schemeClr val="accent1"/>
                    </a:solidFill>
                  </a:tcPr>
                </a:tc>
                <a:tc>
                  <a:txBody>
                    <a:bodyPr/>
                    <a:lstStyle/>
                    <a:p>
                      <a:r>
                        <a:rPr lang="en-GB" sz="900" b="1" dirty="0">
                          <a:solidFill>
                            <a:schemeClr val="bg1"/>
                          </a:solidFill>
                          <a:latin typeface="Lato Long"/>
                        </a:rPr>
                        <a:t>Conclusions </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72979437"/>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Recommendations and Review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86498152"/>
                  </a:ext>
                </a:extLst>
              </a:tr>
            </a:tbl>
          </a:graphicData>
        </a:graphic>
      </p:graphicFrame>
    </p:spTree>
    <p:extLst>
      <p:ext uri="{BB962C8B-B14F-4D97-AF65-F5344CB8AC3E}">
        <p14:creationId xmlns:p14="http://schemas.microsoft.com/office/powerpoint/2010/main" val="41135520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95149BF-FD14-F0B0-C3C3-7E160FCEB44C}"/>
              </a:ext>
            </a:extLst>
          </p:cNvPr>
          <p:cNvGrpSpPr/>
          <p:nvPr/>
        </p:nvGrpSpPr>
        <p:grpSpPr>
          <a:xfrm>
            <a:off x="3441842" y="1304820"/>
            <a:ext cx="5568593" cy="5322012"/>
            <a:chOff x="4379520" y="1716091"/>
            <a:chExt cx="3421848" cy="3428588"/>
          </a:xfrm>
        </p:grpSpPr>
        <p:sp>
          <p:nvSpPr>
            <p:cNvPr id="3" name="Freeform 58">
              <a:extLst>
                <a:ext uri="{FF2B5EF4-FFF2-40B4-BE49-F238E27FC236}">
                  <a16:creationId xmlns:a16="http://schemas.microsoft.com/office/drawing/2014/main" id="{189F6382-0AEA-AF77-3AE7-A86EAEF5A45A}"/>
                </a:ext>
              </a:extLst>
            </p:cNvPr>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3">
              <a:extLst>
                <a:ext uri="{FF2B5EF4-FFF2-40B4-BE49-F238E27FC236}">
                  <a16:creationId xmlns:a16="http://schemas.microsoft.com/office/drawing/2014/main" id="{57FFD638-4637-48B6-242F-363927189750}"/>
                </a:ext>
              </a:extLst>
            </p:cNvPr>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 name="Freeform 64">
                <a:extLst>
                  <a:ext uri="{FF2B5EF4-FFF2-40B4-BE49-F238E27FC236}">
                    <a16:creationId xmlns:a16="http://schemas.microsoft.com/office/drawing/2014/main" id="{15C14573-4E20-9682-60A3-741786CF2A17}"/>
                  </a:ext>
                </a:extLst>
              </p:cNvPr>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65">
                <a:extLst>
                  <a:ext uri="{FF2B5EF4-FFF2-40B4-BE49-F238E27FC236}">
                    <a16:creationId xmlns:a16="http://schemas.microsoft.com/office/drawing/2014/main" id="{1BB469A0-A199-C3A5-7F77-86FDEBC10498}"/>
                  </a:ext>
                </a:extLst>
              </p:cNvPr>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66">
                <a:extLst>
                  <a:ext uri="{FF2B5EF4-FFF2-40B4-BE49-F238E27FC236}">
                    <a16:creationId xmlns:a16="http://schemas.microsoft.com/office/drawing/2014/main" id="{38C60E54-8C88-2214-523D-38040652D08F}"/>
                  </a:ext>
                </a:extLst>
              </p:cNvPr>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9" name="Freeform 67">
                <a:extLst>
                  <a:ext uri="{FF2B5EF4-FFF2-40B4-BE49-F238E27FC236}">
                    <a16:creationId xmlns:a16="http://schemas.microsoft.com/office/drawing/2014/main" id="{2EFFA85B-2674-9CF7-CF63-60D69597F2B6}"/>
                  </a:ext>
                </a:extLst>
              </p:cNvPr>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68">
                <a:extLst>
                  <a:ext uri="{FF2B5EF4-FFF2-40B4-BE49-F238E27FC236}">
                    <a16:creationId xmlns:a16="http://schemas.microsoft.com/office/drawing/2014/main" id="{CD6C2E99-78C4-D26C-DACB-79E66CAAFA22}"/>
                  </a:ext>
                </a:extLst>
              </p:cNvPr>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69">
                <a:extLst>
                  <a:ext uri="{FF2B5EF4-FFF2-40B4-BE49-F238E27FC236}">
                    <a16:creationId xmlns:a16="http://schemas.microsoft.com/office/drawing/2014/main" id="{B7A9DBDE-F213-B5D7-498E-6116712C490E}"/>
                  </a:ext>
                </a:extLst>
              </p:cNvPr>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70">
                <a:extLst>
                  <a:ext uri="{FF2B5EF4-FFF2-40B4-BE49-F238E27FC236}">
                    <a16:creationId xmlns:a16="http://schemas.microsoft.com/office/drawing/2014/main" id="{E121886B-6162-5CDE-516F-FB2ACF4865DC}"/>
                  </a:ext>
                </a:extLst>
              </p:cNvPr>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71">
                <a:extLst>
                  <a:ext uri="{FF2B5EF4-FFF2-40B4-BE49-F238E27FC236}">
                    <a16:creationId xmlns:a16="http://schemas.microsoft.com/office/drawing/2014/main" id="{C9A6AE2A-CA8A-188D-DD4E-30120C96769C}"/>
                  </a:ext>
                </a:extLst>
              </p:cNvPr>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72">
                <a:extLst>
                  <a:ext uri="{FF2B5EF4-FFF2-40B4-BE49-F238E27FC236}">
                    <a16:creationId xmlns:a16="http://schemas.microsoft.com/office/drawing/2014/main" id="{8DAD8DBD-0411-1F28-F0A2-8D8D2839D48B}"/>
                  </a:ext>
                </a:extLst>
              </p:cNvPr>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73">
                <a:extLst>
                  <a:ext uri="{FF2B5EF4-FFF2-40B4-BE49-F238E27FC236}">
                    <a16:creationId xmlns:a16="http://schemas.microsoft.com/office/drawing/2014/main" id="{213818BF-64C0-A304-3845-A9CB90D56C48}"/>
                  </a:ext>
                </a:extLst>
              </p:cNvPr>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74">
                <a:extLst>
                  <a:ext uri="{FF2B5EF4-FFF2-40B4-BE49-F238E27FC236}">
                    <a16:creationId xmlns:a16="http://schemas.microsoft.com/office/drawing/2014/main" id="{C4ACE2A8-1521-334A-20F8-C044F4324B75}"/>
                  </a:ext>
                </a:extLst>
              </p:cNvPr>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Freeform 75">
                <a:extLst>
                  <a:ext uri="{FF2B5EF4-FFF2-40B4-BE49-F238E27FC236}">
                    <a16:creationId xmlns:a16="http://schemas.microsoft.com/office/drawing/2014/main" id="{E2FC5AAB-A4F0-5E20-5BF4-808D76758B91}"/>
                  </a:ext>
                </a:extLst>
              </p:cNvPr>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5" name="Freeform 63">
              <a:extLst>
                <a:ext uri="{FF2B5EF4-FFF2-40B4-BE49-F238E27FC236}">
                  <a16:creationId xmlns:a16="http://schemas.microsoft.com/office/drawing/2014/main" id="{20F4B6A2-C29B-C181-07A6-38F9D1C3BE0B}"/>
                </a:ext>
              </a:extLst>
            </p:cNvPr>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418" name="Rectangle 417">
            <a:extLst>
              <a:ext uri="{FF2B5EF4-FFF2-40B4-BE49-F238E27FC236}">
                <a16:creationId xmlns:a16="http://schemas.microsoft.com/office/drawing/2014/main" id="{A9C3EA63-FD45-9C6C-A89E-49663F55B7E5}"/>
              </a:ext>
            </a:extLst>
          </p:cNvPr>
          <p:cNvSpPr/>
          <p:nvPr/>
        </p:nvSpPr>
        <p:spPr>
          <a:xfrm>
            <a:off x="412827" y="266164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p:txBody>
      </p:sp>
      <p:sp>
        <p:nvSpPr>
          <p:cNvPr id="211" name="Rectangle 210">
            <a:extLst>
              <a:ext uri="{FF2B5EF4-FFF2-40B4-BE49-F238E27FC236}">
                <a16:creationId xmlns:a16="http://schemas.microsoft.com/office/drawing/2014/main" id="{D1FCFD73-4499-031D-96F6-D44B462F02A5}"/>
              </a:ext>
            </a:extLst>
          </p:cNvPr>
          <p:cNvSpPr/>
          <p:nvPr/>
        </p:nvSpPr>
        <p:spPr>
          <a:xfrm>
            <a:off x="407667" y="235427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Tools</a:t>
            </a:r>
          </a:p>
        </p:txBody>
      </p:sp>
      <p:sp>
        <p:nvSpPr>
          <p:cNvPr id="212" name="Rectangle 211">
            <a:extLst>
              <a:ext uri="{FF2B5EF4-FFF2-40B4-BE49-F238E27FC236}">
                <a16:creationId xmlns:a16="http://schemas.microsoft.com/office/drawing/2014/main" id="{1DE05764-C23E-4283-A780-678B3EFEC61F}"/>
              </a:ext>
            </a:extLst>
          </p:cNvPr>
          <p:cNvSpPr/>
          <p:nvPr/>
        </p:nvSpPr>
        <p:spPr>
          <a:xfrm>
            <a:off x="386100" y="512056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trategic Tools</a:t>
            </a:r>
          </a:p>
        </p:txBody>
      </p:sp>
      <p:sp>
        <p:nvSpPr>
          <p:cNvPr id="213" name="Rectangle 212">
            <a:extLst>
              <a:ext uri="{FF2B5EF4-FFF2-40B4-BE49-F238E27FC236}">
                <a16:creationId xmlns:a16="http://schemas.microsoft.com/office/drawing/2014/main" id="{77D4FEBB-5888-9C02-D2A4-0B6800B2E8BB}"/>
              </a:ext>
            </a:extLst>
          </p:cNvPr>
          <p:cNvSpPr/>
          <p:nvPr/>
        </p:nvSpPr>
        <p:spPr>
          <a:xfrm>
            <a:off x="421421" y="327637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ontent Modules</a:t>
            </a:r>
          </a:p>
        </p:txBody>
      </p:sp>
      <p:sp>
        <p:nvSpPr>
          <p:cNvPr id="214" name="Rectangle 213">
            <a:extLst>
              <a:ext uri="{FF2B5EF4-FFF2-40B4-BE49-F238E27FC236}">
                <a16:creationId xmlns:a16="http://schemas.microsoft.com/office/drawing/2014/main" id="{EABC3759-A001-D301-7AAD-9EDC23F906B8}"/>
              </a:ext>
            </a:extLst>
          </p:cNvPr>
          <p:cNvSpPr/>
          <p:nvPr/>
        </p:nvSpPr>
        <p:spPr>
          <a:xfrm>
            <a:off x="379086" y="573529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p:txBody>
      </p:sp>
      <p:sp>
        <p:nvSpPr>
          <p:cNvPr id="215" name="Rectangle 214">
            <a:extLst>
              <a:ext uri="{FF2B5EF4-FFF2-40B4-BE49-F238E27FC236}">
                <a16:creationId xmlns:a16="http://schemas.microsoft.com/office/drawing/2014/main" id="{506C45A4-93B8-FEF0-DD07-ECC9C2F6BAAF}"/>
              </a:ext>
            </a:extLst>
          </p:cNvPr>
          <p:cNvSpPr/>
          <p:nvPr/>
        </p:nvSpPr>
        <p:spPr>
          <a:xfrm>
            <a:off x="402105" y="419846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Descriptions </a:t>
            </a:r>
          </a:p>
        </p:txBody>
      </p:sp>
      <p:sp>
        <p:nvSpPr>
          <p:cNvPr id="216" name="Rectangle 215">
            <a:extLst>
              <a:ext uri="{FF2B5EF4-FFF2-40B4-BE49-F238E27FC236}">
                <a16:creationId xmlns:a16="http://schemas.microsoft.com/office/drawing/2014/main" id="{1524BC27-33DE-37FD-8FFB-A3D9EC72595A}"/>
              </a:ext>
            </a:extLst>
          </p:cNvPr>
          <p:cNvSpPr/>
          <p:nvPr/>
        </p:nvSpPr>
        <p:spPr>
          <a:xfrm>
            <a:off x="416258" y="358373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p:txBody>
      </p:sp>
      <p:sp>
        <p:nvSpPr>
          <p:cNvPr id="217" name="Rectangle 216">
            <a:extLst>
              <a:ext uri="{FF2B5EF4-FFF2-40B4-BE49-F238E27FC236}">
                <a16:creationId xmlns:a16="http://schemas.microsoft.com/office/drawing/2014/main" id="{6E55EBA7-E887-A28C-492D-C05011541FD1}"/>
              </a:ext>
            </a:extLst>
          </p:cNvPr>
          <p:cNvSpPr/>
          <p:nvPr/>
        </p:nvSpPr>
        <p:spPr>
          <a:xfrm>
            <a:off x="410046" y="389110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a:t>
            </a:r>
          </a:p>
        </p:txBody>
      </p:sp>
      <p:sp>
        <p:nvSpPr>
          <p:cNvPr id="218" name="Rectangle 217">
            <a:extLst>
              <a:ext uri="{FF2B5EF4-FFF2-40B4-BE49-F238E27FC236}">
                <a16:creationId xmlns:a16="http://schemas.microsoft.com/office/drawing/2014/main" id="{034017E2-3A05-07FB-5E21-004CE52B58B7}"/>
              </a:ext>
            </a:extLst>
          </p:cNvPr>
          <p:cNvSpPr/>
          <p:nvPr/>
        </p:nvSpPr>
        <p:spPr>
          <a:xfrm>
            <a:off x="387027" y="481319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p:txBody>
      </p:sp>
      <p:sp>
        <p:nvSpPr>
          <p:cNvPr id="219" name="Rectangle 218">
            <a:extLst>
              <a:ext uri="{FF2B5EF4-FFF2-40B4-BE49-F238E27FC236}">
                <a16:creationId xmlns:a16="http://schemas.microsoft.com/office/drawing/2014/main" id="{686D1E88-06E9-91B5-C258-2E99452197B9}"/>
              </a:ext>
            </a:extLst>
          </p:cNvPr>
          <p:cNvSpPr/>
          <p:nvPr/>
        </p:nvSpPr>
        <p:spPr>
          <a:xfrm>
            <a:off x="375780" y="542792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a:t>
            </a:r>
          </a:p>
        </p:txBody>
      </p:sp>
      <p:sp>
        <p:nvSpPr>
          <p:cNvPr id="220" name="Rectangle 219">
            <a:extLst>
              <a:ext uri="{FF2B5EF4-FFF2-40B4-BE49-F238E27FC236}">
                <a16:creationId xmlns:a16="http://schemas.microsoft.com/office/drawing/2014/main" id="{1D6CC9B2-FF8C-9C3A-E0F2-F3F398331705}"/>
              </a:ext>
            </a:extLst>
          </p:cNvPr>
          <p:cNvSpPr/>
          <p:nvPr/>
        </p:nvSpPr>
        <p:spPr>
          <a:xfrm>
            <a:off x="396420" y="450583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p:txBody>
      </p:sp>
      <p:sp>
        <p:nvSpPr>
          <p:cNvPr id="224" name="Rectangle 223">
            <a:extLst>
              <a:ext uri="{FF2B5EF4-FFF2-40B4-BE49-F238E27FC236}">
                <a16:creationId xmlns:a16="http://schemas.microsoft.com/office/drawing/2014/main" id="{3ECC189E-389F-6A39-01E0-14432C3376DC}"/>
              </a:ext>
            </a:extLst>
          </p:cNvPr>
          <p:cNvSpPr/>
          <p:nvPr/>
        </p:nvSpPr>
        <p:spPr>
          <a:xfrm>
            <a:off x="2566811"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225" name="Rectangle 224">
            <a:extLst>
              <a:ext uri="{FF2B5EF4-FFF2-40B4-BE49-F238E27FC236}">
                <a16:creationId xmlns:a16="http://schemas.microsoft.com/office/drawing/2014/main" id="{95CF2858-1B59-7633-9E58-D99D29DF83BF}"/>
              </a:ext>
            </a:extLst>
          </p:cNvPr>
          <p:cNvSpPr/>
          <p:nvPr/>
        </p:nvSpPr>
        <p:spPr>
          <a:xfrm>
            <a:off x="2566811"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greements</a:t>
            </a:r>
          </a:p>
        </p:txBody>
      </p:sp>
      <p:sp>
        <p:nvSpPr>
          <p:cNvPr id="226" name="Rectangle 225">
            <a:extLst>
              <a:ext uri="{FF2B5EF4-FFF2-40B4-BE49-F238E27FC236}">
                <a16:creationId xmlns:a16="http://schemas.microsoft.com/office/drawing/2014/main" id="{04881923-66A2-DD13-411C-A3E122E48823}"/>
              </a:ext>
            </a:extLst>
          </p:cNvPr>
          <p:cNvSpPr/>
          <p:nvPr/>
        </p:nvSpPr>
        <p:spPr>
          <a:xfrm>
            <a:off x="2566811"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nalytics</a:t>
            </a:r>
          </a:p>
        </p:txBody>
      </p:sp>
      <p:sp>
        <p:nvSpPr>
          <p:cNvPr id="227" name="Rectangle 226">
            <a:extLst>
              <a:ext uri="{FF2B5EF4-FFF2-40B4-BE49-F238E27FC236}">
                <a16:creationId xmlns:a16="http://schemas.microsoft.com/office/drawing/2014/main" id="{13525AFA-3842-8C7F-7A6C-6F0FB7E44196}"/>
              </a:ext>
            </a:extLst>
          </p:cNvPr>
          <p:cNvSpPr/>
          <p:nvPr/>
        </p:nvSpPr>
        <p:spPr>
          <a:xfrm>
            <a:off x="2566811"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arriers</a:t>
            </a:r>
          </a:p>
        </p:txBody>
      </p:sp>
      <p:sp>
        <p:nvSpPr>
          <p:cNvPr id="228" name="Rectangle 227">
            <a:extLst>
              <a:ext uri="{FF2B5EF4-FFF2-40B4-BE49-F238E27FC236}">
                <a16:creationId xmlns:a16="http://schemas.microsoft.com/office/drawing/2014/main" id="{A045CB11-A0BE-D95D-FA42-CA7000A8E443}"/>
              </a:ext>
            </a:extLst>
          </p:cNvPr>
          <p:cNvSpPr/>
          <p:nvPr/>
        </p:nvSpPr>
        <p:spPr>
          <a:xfrm>
            <a:off x="2566811"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usiness Reviews</a:t>
            </a:r>
          </a:p>
        </p:txBody>
      </p:sp>
      <p:sp>
        <p:nvSpPr>
          <p:cNvPr id="229" name="Rectangle 228">
            <a:extLst>
              <a:ext uri="{FF2B5EF4-FFF2-40B4-BE49-F238E27FC236}">
                <a16:creationId xmlns:a16="http://schemas.microsoft.com/office/drawing/2014/main" id="{94C7F36E-269F-DC16-EC86-C9795735AA3E}"/>
              </a:ext>
            </a:extLst>
          </p:cNvPr>
          <p:cNvSpPr/>
          <p:nvPr/>
        </p:nvSpPr>
        <p:spPr>
          <a:xfrm>
            <a:off x="2566811"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usiness Intelligence</a:t>
            </a:r>
          </a:p>
        </p:txBody>
      </p:sp>
      <p:sp>
        <p:nvSpPr>
          <p:cNvPr id="230" name="Rectangle 229">
            <a:extLst>
              <a:ext uri="{FF2B5EF4-FFF2-40B4-BE49-F238E27FC236}">
                <a16:creationId xmlns:a16="http://schemas.microsoft.com/office/drawing/2014/main" id="{ED32097C-3A33-5ED2-2C9B-2B4FE6B95F76}"/>
              </a:ext>
            </a:extLst>
          </p:cNvPr>
          <p:cNvSpPr/>
          <p:nvPr/>
        </p:nvSpPr>
        <p:spPr>
          <a:xfrm>
            <a:off x="2566811"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hannels</a:t>
            </a:r>
          </a:p>
        </p:txBody>
      </p:sp>
      <p:sp>
        <p:nvSpPr>
          <p:cNvPr id="231" name="Rectangle 230">
            <a:extLst>
              <a:ext uri="{FF2B5EF4-FFF2-40B4-BE49-F238E27FC236}">
                <a16:creationId xmlns:a16="http://schemas.microsoft.com/office/drawing/2014/main" id="{F35A815E-0064-B362-4A7D-AC7E79406F0C}"/>
              </a:ext>
            </a:extLst>
          </p:cNvPr>
          <p:cNvSpPr/>
          <p:nvPr/>
        </p:nvSpPr>
        <p:spPr>
          <a:xfrm>
            <a:off x="2566811"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munication</a:t>
            </a:r>
          </a:p>
        </p:txBody>
      </p:sp>
      <p:sp>
        <p:nvSpPr>
          <p:cNvPr id="232" name="Rectangle 231">
            <a:extLst>
              <a:ext uri="{FF2B5EF4-FFF2-40B4-BE49-F238E27FC236}">
                <a16:creationId xmlns:a16="http://schemas.microsoft.com/office/drawing/2014/main" id="{90155C62-D61D-CB1B-C865-A3DEB8C2CCE8}"/>
              </a:ext>
            </a:extLst>
          </p:cNvPr>
          <p:cNvSpPr/>
          <p:nvPr/>
        </p:nvSpPr>
        <p:spPr>
          <a:xfrm>
            <a:off x="2566811"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Evaluation</a:t>
            </a:r>
          </a:p>
        </p:txBody>
      </p:sp>
      <p:sp>
        <p:nvSpPr>
          <p:cNvPr id="233" name="Rectangle 232">
            <a:extLst>
              <a:ext uri="{FF2B5EF4-FFF2-40B4-BE49-F238E27FC236}">
                <a16:creationId xmlns:a16="http://schemas.microsoft.com/office/drawing/2014/main" id="{92E4F93B-5610-0CDA-1871-9B41788A98A4}"/>
              </a:ext>
            </a:extLst>
          </p:cNvPr>
          <p:cNvSpPr/>
          <p:nvPr/>
        </p:nvSpPr>
        <p:spPr>
          <a:xfrm>
            <a:off x="2566811"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Intelligence</a:t>
            </a:r>
          </a:p>
        </p:txBody>
      </p:sp>
      <p:sp>
        <p:nvSpPr>
          <p:cNvPr id="237" name="Rectangle 236">
            <a:extLst>
              <a:ext uri="{FF2B5EF4-FFF2-40B4-BE49-F238E27FC236}">
                <a16:creationId xmlns:a16="http://schemas.microsoft.com/office/drawing/2014/main" id="{C44533D8-6FD4-9DDC-35C7-D84BFD2C8C35}"/>
              </a:ext>
            </a:extLst>
          </p:cNvPr>
          <p:cNvSpPr/>
          <p:nvPr/>
        </p:nvSpPr>
        <p:spPr>
          <a:xfrm>
            <a:off x="3966444"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Acquisition</a:t>
            </a:r>
          </a:p>
        </p:txBody>
      </p:sp>
      <p:sp>
        <p:nvSpPr>
          <p:cNvPr id="238" name="Rectangle 237">
            <a:extLst>
              <a:ext uri="{FF2B5EF4-FFF2-40B4-BE49-F238E27FC236}">
                <a16:creationId xmlns:a16="http://schemas.microsoft.com/office/drawing/2014/main" id="{1EB0CAD8-450D-4F8C-AD6F-0074FD5DA80A}"/>
              </a:ext>
            </a:extLst>
          </p:cNvPr>
          <p:cNvSpPr/>
          <p:nvPr/>
        </p:nvSpPr>
        <p:spPr>
          <a:xfrm>
            <a:off x="3966444"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Management</a:t>
            </a:r>
          </a:p>
        </p:txBody>
      </p:sp>
      <p:sp>
        <p:nvSpPr>
          <p:cNvPr id="239" name="Rectangle 238">
            <a:extLst>
              <a:ext uri="{FF2B5EF4-FFF2-40B4-BE49-F238E27FC236}">
                <a16:creationId xmlns:a16="http://schemas.microsoft.com/office/drawing/2014/main" id="{BCB846E0-E016-897C-3DBF-71501B91AA87}"/>
              </a:ext>
            </a:extLst>
          </p:cNvPr>
          <p:cNvSpPr/>
          <p:nvPr/>
        </p:nvSpPr>
        <p:spPr>
          <a:xfrm>
            <a:off x="3966444"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Distribution </a:t>
            </a:r>
          </a:p>
        </p:txBody>
      </p:sp>
      <p:sp>
        <p:nvSpPr>
          <p:cNvPr id="240" name="Rectangle 239">
            <a:extLst>
              <a:ext uri="{FF2B5EF4-FFF2-40B4-BE49-F238E27FC236}">
                <a16:creationId xmlns:a16="http://schemas.microsoft.com/office/drawing/2014/main" id="{802B5EC1-E814-0573-93AE-C1F71645704C}"/>
              </a:ext>
            </a:extLst>
          </p:cNvPr>
          <p:cNvSpPr/>
          <p:nvPr/>
        </p:nvSpPr>
        <p:spPr>
          <a:xfrm>
            <a:off x="3966444"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Distributor Management</a:t>
            </a:r>
          </a:p>
        </p:txBody>
      </p:sp>
      <p:sp>
        <p:nvSpPr>
          <p:cNvPr id="241" name="Rectangle 240">
            <a:extLst>
              <a:ext uri="{FF2B5EF4-FFF2-40B4-BE49-F238E27FC236}">
                <a16:creationId xmlns:a16="http://schemas.microsoft.com/office/drawing/2014/main" id="{FDA5EE8F-0ADC-E39D-BA41-4D2DB19D3931}"/>
              </a:ext>
            </a:extLst>
          </p:cNvPr>
          <p:cNvSpPr/>
          <p:nvPr/>
        </p:nvSpPr>
        <p:spPr>
          <a:xfrm>
            <a:off x="3966444"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Forecasting</a:t>
            </a:r>
          </a:p>
        </p:txBody>
      </p:sp>
      <p:sp>
        <p:nvSpPr>
          <p:cNvPr id="242" name="Rectangle 241">
            <a:extLst>
              <a:ext uri="{FF2B5EF4-FFF2-40B4-BE49-F238E27FC236}">
                <a16:creationId xmlns:a16="http://schemas.microsoft.com/office/drawing/2014/main" id="{F1F73A0B-DF0A-006E-12BE-1074E5F78175}"/>
              </a:ext>
            </a:extLst>
          </p:cNvPr>
          <p:cNvSpPr/>
          <p:nvPr/>
        </p:nvSpPr>
        <p:spPr>
          <a:xfrm>
            <a:off x="3966444"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GAP Analysis</a:t>
            </a:r>
          </a:p>
        </p:txBody>
      </p:sp>
      <p:sp>
        <p:nvSpPr>
          <p:cNvPr id="243" name="Rectangle 242">
            <a:extLst>
              <a:ext uri="{FF2B5EF4-FFF2-40B4-BE49-F238E27FC236}">
                <a16:creationId xmlns:a16="http://schemas.microsoft.com/office/drawing/2014/main" id="{CF523630-A9AE-6498-F7E3-58BC0EFA6091}"/>
              </a:ext>
            </a:extLst>
          </p:cNvPr>
          <p:cNvSpPr/>
          <p:nvPr/>
        </p:nvSpPr>
        <p:spPr>
          <a:xfrm>
            <a:off x="3966444"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Go To Market</a:t>
            </a:r>
          </a:p>
        </p:txBody>
      </p:sp>
      <p:sp>
        <p:nvSpPr>
          <p:cNvPr id="244" name="Rectangle 243">
            <a:extLst>
              <a:ext uri="{FF2B5EF4-FFF2-40B4-BE49-F238E27FC236}">
                <a16:creationId xmlns:a16="http://schemas.microsoft.com/office/drawing/2014/main" id="{2D7EEEAA-5E2C-A1AC-574A-D516A01B55C6}"/>
              </a:ext>
            </a:extLst>
          </p:cNvPr>
          <p:cNvSpPr/>
          <p:nvPr/>
        </p:nvSpPr>
        <p:spPr>
          <a:xfrm>
            <a:off x="3966444"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Job Descriptions</a:t>
            </a:r>
          </a:p>
        </p:txBody>
      </p:sp>
      <p:sp>
        <p:nvSpPr>
          <p:cNvPr id="245" name="Rectangle 244">
            <a:extLst>
              <a:ext uri="{FF2B5EF4-FFF2-40B4-BE49-F238E27FC236}">
                <a16:creationId xmlns:a16="http://schemas.microsoft.com/office/drawing/2014/main" id="{B1A00D86-0753-0DDD-D11D-F63F984451E9}"/>
              </a:ext>
            </a:extLst>
          </p:cNvPr>
          <p:cNvSpPr/>
          <p:nvPr/>
        </p:nvSpPr>
        <p:spPr>
          <a:xfrm>
            <a:off x="3966444"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Key Account Plans </a:t>
            </a:r>
          </a:p>
        </p:txBody>
      </p:sp>
      <p:sp>
        <p:nvSpPr>
          <p:cNvPr id="246" name="Rectangle 245">
            <a:extLst>
              <a:ext uri="{FF2B5EF4-FFF2-40B4-BE49-F238E27FC236}">
                <a16:creationId xmlns:a16="http://schemas.microsoft.com/office/drawing/2014/main" id="{DC4DBF2D-EE28-3D7D-F823-7C9FD01A9ABF}"/>
              </a:ext>
            </a:extLst>
          </p:cNvPr>
          <p:cNvSpPr/>
          <p:nvPr/>
        </p:nvSpPr>
        <p:spPr>
          <a:xfrm>
            <a:off x="3966444"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nagement Summary</a:t>
            </a:r>
          </a:p>
        </p:txBody>
      </p:sp>
      <p:sp>
        <p:nvSpPr>
          <p:cNvPr id="250" name="Rectangle 249">
            <a:extLst>
              <a:ext uri="{FF2B5EF4-FFF2-40B4-BE49-F238E27FC236}">
                <a16:creationId xmlns:a16="http://schemas.microsoft.com/office/drawing/2014/main" id="{B45F2524-0A25-E756-72F6-7C45F809EEA5}"/>
              </a:ext>
            </a:extLst>
          </p:cNvPr>
          <p:cNvSpPr/>
          <p:nvPr/>
        </p:nvSpPr>
        <p:spPr>
          <a:xfrm>
            <a:off x="5366076"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gins</a:t>
            </a:r>
          </a:p>
        </p:txBody>
      </p:sp>
      <p:sp>
        <p:nvSpPr>
          <p:cNvPr id="251" name="Rectangle 250">
            <a:extLst>
              <a:ext uri="{FF2B5EF4-FFF2-40B4-BE49-F238E27FC236}">
                <a16:creationId xmlns:a16="http://schemas.microsoft.com/office/drawing/2014/main" id="{67A89327-2ABD-FDA3-1AD8-F544AE466AD6}"/>
              </a:ext>
            </a:extLst>
          </p:cNvPr>
          <p:cNvSpPr/>
          <p:nvPr/>
        </p:nvSpPr>
        <p:spPr>
          <a:xfrm>
            <a:off x="5366076"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Analysis</a:t>
            </a:r>
          </a:p>
        </p:txBody>
      </p:sp>
      <p:sp>
        <p:nvSpPr>
          <p:cNvPr id="252" name="Rectangle 251">
            <a:extLst>
              <a:ext uri="{FF2B5EF4-FFF2-40B4-BE49-F238E27FC236}">
                <a16:creationId xmlns:a16="http://schemas.microsoft.com/office/drawing/2014/main" id="{58988DED-EE57-F69F-C842-F713F60986E4}"/>
              </a:ext>
            </a:extLst>
          </p:cNvPr>
          <p:cNvSpPr/>
          <p:nvPr/>
        </p:nvSpPr>
        <p:spPr>
          <a:xfrm>
            <a:off x="5366076"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Development</a:t>
            </a:r>
          </a:p>
        </p:txBody>
      </p:sp>
      <p:sp>
        <p:nvSpPr>
          <p:cNvPr id="253" name="Rectangle 252">
            <a:extLst>
              <a:ext uri="{FF2B5EF4-FFF2-40B4-BE49-F238E27FC236}">
                <a16:creationId xmlns:a16="http://schemas.microsoft.com/office/drawing/2014/main" id="{BC1A4986-391B-D15B-9E40-C2E41E9CF271}"/>
              </a:ext>
            </a:extLst>
          </p:cNvPr>
          <p:cNvSpPr/>
          <p:nvPr/>
        </p:nvSpPr>
        <p:spPr>
          <a:xfrm>
            <a:off x="5366076"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Research </a:t>
            </a:r>
          </a:p>
        </p:txBody>
      </p:sp>
      <p:sp>
        <p:nvSpPr>
          <p:cNvPr id="254" name="Rectangle 253">
            <a:extLst>
              <a:ext uri="{FF2B5EF4-FFF2-40B4-BE49-F238E27FC236}">
                <a16:creationId xmlns:a16="http://schemas.microsoft.com/office/drawing/2014/main" id="{A5C39F91-6739-A5F1-DC84-D743ED36793D}"/>
              </a:ext>
            </a:extLst>
          </p:cNvPr>
          <p:cNvSpPr/>
          <p:nvPr/>
        </p:nvSpPr>
        <p:spPr>
          <a:xfrm>
            <a:off x="5366076"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egmentation</a:t>
            </a:r>
          </a:p>
        </p:txBody>
      </p:sp>
      <p:sp>
        <p:nvSpPr>
          <p:cNvPr id="255" name="Rectangle 254">
            <a:extLst>
              <a:ext uri="{FF2B5EF4-FFF2-40B4-BE49-F238E27FC236}">
                <a16:creationId xmlns:a16="http://schemas.microsoft.com/office/drawing/2014/main" id="{340E96EF-F043-CF54-06EB-BCE31137F6D8}"/>
              </a:ext>
            </a:extLst>
          </p:cNvPr>
          <p:cNvSpPr/>
          <p:nvPr/>
        </p:nvSpPr>
        <p:spPr>
          <a:xfrm>
            <a:off x="5366076"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ize</a:t>
            </a:r>
          </a:p>
        </p:txBody>
      </p:sp>
      <p:sp>
        <p:nvSpPr>
          <p:cNvPr id="256" name="Rectangle 255">
            <a:extLst>
              <a:ext uri="{FF2B5EF4-FFF2-40B4-BE49-F238E27FC236}">
                <a16:creationId xmlns:a16="http://schemas.microsoft.com/office/drawing/2014/main" id="{B1C8F87D-6A0A-3E18-5842-64E0E78FA6C2}"/>
              </a:ext>
            </a:extLst>
          </p:cNvPr>
          <p:cNvSpPr/>
          <p:nvPr/>
        </p:nvSpPr>
        <p:spPr>
          <a:xfrm>
            <a:off x="5366076"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a:t>
            </a:r>
          </a:p>
        </p:txBody>
      </p:sp>
      <p:sp>
        <p:nvSpPr>
          <p:cNvPr id="257" name="Rectangle 256">
            <a:extLst>
              <a:ext uri="{FF2B5EF4-FFF2-40B4-BE49-F238E27FC236}">
                <a16:creationId xmlns:a16="http://schemas.microsoft.com/office/drawing/2014/main" id="{A3A8F6BC-FCD5-E479-D970-F8DF88AF7F63}"/>
              </a:ext>
            </a:extLst>
          </p:cNvPr>
          <p:cNvSpPr/>
          <p:nvPr/>
        </p:nvSpPr>
        <p:spPr>
          <a:xfrm>
            <a:off x="5366076"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 Comms</a:t>
            </a:r>
          </a:p>
        </p:txBody>
      </p:sp>
      <p:sp>
        <p:nvSpPr>
          <p:cNvPr id="258" name="Rectangle 257">
            <a:extLst>
              <a:ext uri="{FF2B5EF4-FFF2-40B4-BE49-F238E27FC236}">
                <a16:creationId xmlns:a16="http://schemas.microsoft.com/office/drawing/2014/main" id="{92CE92F6-8683-AD1D-89A2-B09148C431B9}"/>
              </a:ext>
            </a:extLst>
          </p:cNvPr>
          <p:cNvSpPr/>
          <p:nvPr/>
        </p:nvSpPr>
        <p:spPr>
          <a:xfrm>
            <a:off x="5366076"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erchandising</a:t>
            </a:r>
          </a:p>
        </p:txBody>
      </p:sp>
      <p:sp>
        <p:nvSpPr>
          <p:cNvPr id="259" name="Rectangle 258">
            <a:extLst>
              <a:ext uri="{FF2B5EF4-FFF2-40B4-BE49-F238E27FC236}">
                <a16:creationId xmlns:a16="http://schemas.microsoft.com/office/drawing/2014/main" id="{5AF324FD-9DBC-0AC4-47AA-E47235E6D76C}"/>
              </a:ext>
            </a:extLst>
          </p:cNvPr>
          <p:cNvSpPr/>
          <p:nvPr/>
        </p:nvSpPr>
        <p:spPr>
          <a:xfrm>
            <a:off x="5366076"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New Market Entry</a:t>
            </a:r>
          </a:p>
        </p:txBody>
      </p:sp>
      <p:sp>
        <p:nvSpPr>
          <p:cNvPr id="263" name="Rectangle 262">
            <a:extLst>
              <a:ext uri="{FF2B5EF4-FFF2-40B4-BE49-F238E27FC236}">
                <a16:creationId xmlns:a16="http://schemas.microsoft.com/office/drawing/2014/main" id="{BA0AD984-93C6-77D3-0180-A1C0157F6E53}"/>
              </a:ext>
            </a:extLst>
          </p:cNvPr>
          <p:cNvSpPr/>
          <p:nvPr/>
        </p:nvSpPr>
        <p:spPr>
          <a:xfrm>
            <a:off x="6765709"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artner Search </a:t>
            </a:r>
          </a:p>
        </p:txBody>
      </p:sp>
      <p:sp>
        <p:nvSpPr>
          <p:cNvPr id="264" name="Rectangle 263">
            <a:extLst>
              <a:ext uri="{FF2B5EF4-FFF2-40B4-BE49-F238E27FC236}">
                <a16:creationId xmlns:a16="http://schemas.microsoft.com/office/drawing/2014/main" id="{14438355-24AC-27F6-AB89-79492BF008C9}"/>
              </a:ext>
            </a:extLst>
          </p:cNvPr>
          <p:cNvSpPr/>
          <p:nvPr/>
        </p:nvSpPr>
        <p:spPr>
          <a:xfrm>
            <a:off x="6765709"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ersona Development</a:t>
            </a:r>
          </a:p>
        </p:txBody>
      </p:sp>
      <p:sp>
        <p:nvSpPr>
          <p:cNvPr id="265" name="Rectangle 264">
            <a:extLst>
              <a:ext uri="{FF2B5EF4-FFF2-40B4-BE49-F238E27FC236}">
                <a16:creationId xmlns:a16="http://schemas.microsoft.com/office/drawing/2014/main" id="{DAC53EAB-4CE9-80F8-3E79-F06D8A3180A7}"/>
              </a:ext>
            </a:extLst>
          </p:cNvPr>
          <p:cNvSpPr/>
          <p:nvPr/>
        </p:nvSpPr>
        <p:spPr>
          <a:xfrm>
            <a:off x="6765709"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lanning</a:t>
            </a:r>
          </a:p>
        </p:txBody>
      </p:sp>
      <p:sp>
        <p:nvSpPr>
          <p:cNvPr id="266" name="Rectangle 265">
            <a:extLst>
              <a:ext uri="{FF2B5EF4-FFF2-40B4-BE49-F238E27FC236}">
                <a16:creationId xmlns:a16="http://schemas.microsoft.com/office/drawing/2014/main" id="{FDC3FB86-1658-18C1-E941-508B8CA7D935}"/>
              </a:ext>
            </a:extLst>
          </p:cNvPr>
          <p:cNvSpPr/>
          <p:nvPr/>
        </p:nvSpPr>
        <p:spPr>
          <a:xfrm>
            <a:off x="6765709"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ositioning</a:t>
            </a:r>
          </a:p>
        </p:txBody>
      </p:sp>
      <p:sp>
        <p:nvSpPr>
          <p:cNvPr id="267" name="Rectangle 266">
            <a:extLst>
              <a:ext uri="{FF2B5EF4-FFF2-40B4-BE49-F238E27FC236}">
                <a16:creationId xmlns:a16="http://schemas.microsoft.com/office/drawing/2014/main" id="{8723F139-3BCB-79FF-4451-970D97DF5647}"/>
              </a:ext>
            </a:extLst>
          </p:cNvPr>
          <p:cNvSpPr/>
          <p:nvPr/>
        </p:nvSpPr>
        <p:spPr>
          <a:xfrm>
            <a:off x="6765709"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cing</a:t>
            </a:r>
          </a:p>
        </p:txBody>
      </p:sp>
      <p:sp>
        <p:nvSpPr>
          <p:cNvPr id="268" name="Rectangle 267">
            <a:extLst>
              <a:ext uri="{FF2B5EF4-FFF2-40B4-BE49-F238E27FC236}">
                <a16:creationId xmlns:a16="http://schemas.microsoft.com/office/drawing/2014/main" id="{6B8A15B5-F01C-A28D-7096-1FD92486EBF7}"/>
              </a:ext>
            </a:extLst>
          </p:cNvPr>
          <p:cNvSpPr/>
          <p:nvPr/>
        </p:nvSpPr>
        <p:spPr>
          <a:xfrm>
            <a:off x="6765709"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oritization</a:t>
            </a:r>
          </a:p>
        </p:txBody>
      </p:sp>
      <p:sp>
        <p:nvSpPr>
          <p:cNvPr id="269" name="Rectangle 268">
            <a:extLst>
              <a:ext uri="{FF2B5EF4-FFF2-40B4-BE49-F238E27FC236}">
                <a16:creationId xmlns:a16="http://schemas.microsoft.com/office/drawing/2014/main" id="{8830F413-FD0D-92CA-E93B-1079AD56C21E}"/>
              </a:ext>
            </a:extLst>
          </p:cNvPr>
          <p:cNvSpPr/>
          <p:nvPr/>
        </p:nvSpPr>
        <p:spPr>
          <a:xfrm>
            <a:off x="6765709"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duct Development</a:t>
            </a:r>
          </a:p>
        </p:txBody>
      </p:sp>
      <p:sp>
        <p:nvSpPr>
          <p:cNvPr id="270" name="Rectangle 269">
            <a:extLst>
              <a:ext uri="{FF2B5EF4-FFF2-40B4-BE49-F238E27FC236}">
                <a16:creationId xmlns:a16="http://schemas.microsoft.com/office/drawing/2014/main" id="{BD2E7072-21B5-726B-CD46-CCA076FE703A}"/>
              </a:ext>
            </a:extLst>
          </p:cNvPr>
          <p:cNvSpPr/>
          <p:nvPr/>
        </p:nvSpPr>
        <p:spPr>
          <a:xfrm>
            <a:off x="6765709"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duct Life Cycle </a:t>
            </a:r>
          </a:p>
        </p:txBody>
      </p:sp>
      <p:sp>
        <p:nvSpPr>
          <p:cNvPr id="271" name="Rectangle 270">
            <a:extLst>
              <a:ext uri="{FF2B5EF4-FFF2-40B4-BE49-F238E27FC236}">
                <a16:creationId xmlns:a16="http://schemas.microsoft.com/office/drawing/2014/main" id="{3AABC577-6461-B89D-2ACA-6DF727E6FC33}"/>
              </a:ext>
            </a:extLst>
          </p:cNvPr>
          <p:cNvSpPr/>
          <p:nvPr/>
        </p:nvSpPr>
        <p:spPr>
          <a:xfrm>
            <a:off x="6765709"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fit &amp; Loss</a:t>
            </a:r>
          </a:p>
        </p:txBody>
      </p:sp>
      <p:sp>
        <p:nvSpPr>
          <p:cNvPr id="272" name="Rectangle 271">
            <a:extLst>
              <a:ext uri="{FF2B5EF4-FFF2-40B4-BE49-F238E27FC236}">
                <a16:creationId xmlns:a16="http://schemas.microsoft.com/office/drawing/2014/main" id="{BBC48D0E-020E-6BD5-1156-A9DD16F41DF1}"/>
              </a:ext>
            </a:extLst>
          </p:cNvPr>
          <p:cNvSpPr/>
          <p:nvPr/>
        </p:nvSpPr>
        <p:spPr>
          <a:xfrm>
            <a:off x="6765709"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motions</a:t>
            </a:r>
          </a:p>
        </p:txBody>
      </p:sp>
      <p:sp>
        <p:nvSpPr>
          <p:cNvPr id="276" name="Rectangle 275">
            <a:extLst>
              <a:ext uri="{FF2B5EF4-FFF2-40B4-BE49-F238E27FC236}">
                <a16:creationId xmlns:a16="http://schemas.microsoft.com/office/drawing/2014/main" id="{B218A901-C493-28F5-2778-B0E01D299F3A}"/>
              </a:ext>
            </a:extLst>
          </p:cNvPr>
          <p:cNvSpPr/>
          <p:nvPr/>
        </p:nvSpPr>
        <p:spPr>
          <a:xfrm>
            <a:off x="8165341"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ports</a:t>
            </a:r>
          </a:p>
        </p:txBody>
      </p:sp>
      <p:sp>
        <p:nvSpPr>
          <p:cNvPr id="277" name="Rectangle 276">
            <a:extLst>
              <a:ext uri="{FF2B5EF4-FFF2-40B4-BE49-F238E27FC236}">
                <a16:creationId xmlns:a16="http://schemas.microsoft.com/office/drawing/2014/main" id="{68C8CFA4-FAF6-762D-B007-59BDB786FF1C}"/>
              </a:ext>
            </a:extLst>
          </p:cNvPr>
          <p:cNvSpPr/>
          <p:nvPr/>
        </p:nvSpPr>
        <p:spPr>
          <a:xfrm>
            <a:off x="8165341"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tail Measurement</a:t>
            </a:r>
          </a:p>
        </p:txBody>
      </p:sp>
      <p:sp>
        <p:nvSpPr>
          <p:cNvPr id="278" name="Rectangle 277">
            <a:extLst>
              <a:ext uri="{FF2B5EF4-FFF2-40B4-BE49-F238E27FC236}">
                <a16:creationId xmlns:a16="http://schemas.microsoft.com/office/drawing/2014/main" id="{77CC94B7-F452-85C6-4A94-96D97A7B49EF}"/>
              </a:ext>
            </a:extLst>
          </p:cNvPr>
          <p:cNvSpPr/>
          <p:nvPr/>
        </p:nvSpPr>
        <p:spPr>
          <a:xfrm>
            <a:off x="8165341"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views</a:t>
            </a:r>
          </a:p>
        </p:txBody>
      </p:sp>
      <p:sp>
        <p:nvSpPr>
          <p:cNvPr id="279" name="Rectangle 278">
            <a:extLst>
              <a:ext uri="{FF2B5EF4-FFF2-40B4-BE49-F238E27FC236}">
                <a16:creationId xmlns:a16="http://schemas.microsoft.com/office/drawing/2014/main" id="{FF23B3CD-3A70-8127-A51B-BF69F39F4BE7}"/>
              </a:ext>
            </a:extLst>
          </p:cNvPr>
          <p:cNvSpPr/>
          <p:nvPr/>
        </p:nvSpPr>
        <p:spPr>
          <a:xfrm>
            <a:off x="8165341"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ales Management</a:t>
            </a:r>
          </a:p>
        </p:txBody>
      </p:sp>
      <p:sp>
        <p:nvSpPr>
          <p:cNvPr id="280" name="Rectangle 279">
            <a:extLst>
              <a:ext uri="{FF2B5EF4-FFF2-40B4-BE49-F238E27FC236}">
                <a16:creationId xmlns:a16="http://schemas.microsoft.com/office/drawing/2014/main" id="{E3254516-FB40-3D29-6822-153BE61A6B30}"/>
              </a:ext>
            </a:extLst>
          </p:cNvPr>
          <p:cNvSpPr/>
          <p:nvPr/>
        </p:nvSpPr>
        <p:spPr>
          <a:xfrm>
            <a:off x="8165341"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corecards</a:t>
            </a:r>
          </a:p>
        </p:txBody>
      </p:sp>
      <p:sp>
        <p:nvSpPr>
          <p:cNvPr id="281" name="Rectangle 280">
            <a:extLst>
              <a:ext uri="{FF2B5EF4-FFF2-40B4-BE49-F238E27FC236}">
                <a16:creationId xmlns:a16="http://schemas.microsoft.com/office/drawing/2014/main" id="{55BFD9A4-BB02-BF9A-476C-4D04E53D439F}"/>
              </a:ext>
            </a:extLst>
          </p:cNvPr>
          <p:cNvSpPr/>
          <p:nvPr/>
        </p:nvSpPr>
        <p:spPr>
          <a:xfrm>
            <a:off x="8165341"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egmentation</a:t>
            </a:r>
          </a:p>
        </p:txBody>
      </p:sp>
      <p:sp>
        <p:nvSpPr>
          <p:cNvPr id="282" name="Rectangle 281">
            <a:extLst>
              <a:ext uri="{FF2B5EF4-FFF2-40B4-BE49-F238E27FC236}">
                <a16:creationId xmlns:a16="http://schemas.microsoft.com/office/drawing/2014/main" id="{153860B7-1575-ADC6-3C48-FB2EB1CE9805}"/>
              </a:ext>
            </a:extLst>
          </p:cNvPr>
          <p:cNvSpPr/>
          <p:nvPr/>
        </p:nvSpPr>
        <p:spPr>
          <a:xfrm>
            <a:off x="8165341"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ix Sigma</a:t>
            </a:r>
          </a:p>
        </p:txBody>
      </p:sp>
      <p:sp>
        <p:nvSpPr>
          <p:cNvPr id="283" name="Rectangle 282">
            <a:extLst>
              <a:ext uri="{FF2B5EF4-FFF2-40B4-BE49-F238E27FC236}">
                <a16:creationId xmlns:a16="http://schemas.microsoft.com/office/drawing/2014/main" id="{C08892E5-0CA0-8C44-03E1-6EE6FF72B404}"/>
              </a:ext>
            </a:extLst>
          </p:cNvPr>
          <p:cNvSpPr/>
          <p:nvPr/>
        </p:nvSpPr>
        <p:spPr>
          <a:xfrm>
            <a:off x="8165341"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ocio Economic Classification</a:t>
            </a:r>
          </a:p>
        </p:txBody>
      </p:sp>
      <p:sp>
        <p:nvSpPr>
          <p:cNvPr id="284" name="Rectangle 283">
            <a:extLst>
              <a:ext uri="{FF2B5EF4-FFF2-40B4-BE49-F238E27FC236}">
                <a16:creationId xmlns:a16="http://schemas.microsoft.com/office/drawing/2014/main" id="{EE72C546-ABD8-5D12-0A95-3F1109F029A4}"/>
              </a:ext>
            </a:extLst>
          </p:cNvPr>
          <p:cNvSpPr/>
          <p:nvPr/>
        </p:nvSpPr>
        <p:spPr>
          <a:xfrm>
            <a:off x="8165341"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erritory Design </a:t>
            </a:r>
          </a:p>
        </p:txBody>
      </p:sp>
      <p:sp>
        <p:nvSpPr>
          <p:cNvPr id="285" name="Rectangle 284">
            <a:extLst>
              <a:ext uri="{FF2B5EF4-FFF2-40B4-BE49-F238E27FC236}">
                <a16:creationId xmlns:a16="http://schemas.microsoft.com/office/drawing/2014/main" id="{823DCBF6-4530-0ED4-C2DD-150C24901CB8}"/>
              </a:ext>
            </a:extLst>
          </p:cNvPr>
          <p:cNvSpPr/>
          <p:nvPr/>
        </p:nvSpPr>
        <p:spPr>
          <a:xfrm>
            <a:off x="8165341"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rade Marketing</a:t>
            </a:r>
          </a:p>
        </p:txBody>
      </p:sp>
      <p:sp>
        <p:nvSpPr>
          <p:cNvPr id="302" name="Subtitle 2">
            <a:extLst>
              <a:ext uri="{FF2B5EF4-FFF2-40B4-BE49-F238E27FC236}">
                <a16:creationId xmlns:a16="http://schemas.microsoft.com/office/drawing/2014/main" id="{030D35E0-DDFC-BA58-820E-33210637101B}"/>
              </a:ext>
            </a:extLst>
          </p:cNvPr>
          <p:cNvSpPr txBox="1">
            <a:spLocks/>
          </p:cNvSpPr>
          <p:nvPr/>
        </p:nvSpPr>
        <p:spPr>
          <a:xfrm>
            <a:off x="2669337" y="2656912"/>
            <a:ext cx="1194582" cy="184666"/>
          </a:xfrm>
          <a:prstGeom prst="rect">
            <a:avLst/>
          </a:prstGeom>
          <a:solidFill>
            <a:schemeClr val="accent3"/>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543818" rtl="0" eaLnBrk="1" fontAlgn="auto" latinLnBrk="0" hangingPunct="1">
              <a:lnSpc>
                <a:spcPct val="100000"/>
              </a:lnSpc>
              <a:spcBef>
                <a:spcPct val="20000"/>
              </a:spcBef>
              <a:spcAft>
                <a:spcPts val="0"/>
              </a:spcAft>
              <a:buClrTx/>
              <a:buSzTx/>
              <a:buFont typeface="Arial"/>
              <a:buNone/>
              <a:tabLst/>
              <a:defRPr/>
            </a:pPr>
            <a:r>
              <a:rPr kumimoji="0" lang="en-US" sz="9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Advertising </a:t>
            </a:r>
          </a:p>
        </p:txBody>
      </p:sp>
      <p:sp>
        <p:nvSpPr>
          <p:cNvPr id="404" name="Rectangle 403">
            <a:extLst>
              <a:ext uri="{FF2B5EF4-FFF2-40B4-BE49-F238E27FC236}">
                <a16:creationId xmlns:a16="http://schemas.microsoft.com/office/drawing/2014/main" id="{38E85A02-4BD6-B709-1D85-3C840385CF46}"/>
              </a:ext>
            </a:extLst>
          </p:cNvPr>
          <p:cNvSpPr/>
          <p:nvPr/>
        </p:nvSpPr>
        <p:spPr>
          <a:xfrm>
            <a:off x="2585416" y="2272945"/>
            <a:ext cx="6969550"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Types </a:t>
            </a:r>
            <a:endParaRPr kumimoji="0" lang="en-US" sz="16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05" name="Rectangle 404">
            <a:extLst>
              <a:ext uri="{FF2B5EF4-FFF2-40B4-BE49-F238E27FC236}">
                <a16:creationId xmlns:a16="http://schemas.microsoft.com/office/drawing/2014/main" id="{30038924-87B0-82D9-2294-0C757E4DC68F}"/>
              </a:ext>
            </a:extLst>
          </p:cNvPr>
          <p:cNvSpPr/>
          <p:nvPr/>
        </p:nvSpPr>
        <p:spPr>
          <a:xfrm>
            <a:off x="417987" y="2046913"/>
            <a:ext cx="2045574"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Categories </a:t>
            </a:r>
            <a:endParaRPr kumimoji="0" lang="en-US" sz="18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endParaRPr>
          </a:p>
        </p:txBody>
      </p:sp>
      <p:sp>
        <p:nvSpPr>
          <p:cNvPr id="406" name="Rectangle 405">
            <a:extLst>
              <a:ext uri="{FF2B5EF4-FFF2-40B4-BE49-F238E27FC236}">
                <a16:creationId xmlns:a16="http://schemas.microsoft.com/office/drawing/2014/main" id="{6DA83EFB-1677-30B7-9A6F-789A148840B4}"/>
              </a:ext>
            </a:extLst>
          </p:cNvPr>
          <p:cNvSpPr/>
          <p:nvPr/>
        </p:nvSpPr>
        <p:spPr>
          <a:xfrm>
            <a:off x="9627908" y="2016089"/>
            <a:ext cx="2033267"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Functions </a:t>
            </a:r>
            <a:endParaRPr kumimoji="0" lang="en-US" sz="18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endParaRPr>
          </a:p>
        </p:txBody>
      </p:sp>
      <p:sp>
        <p:nvSpPr>
          <p:cNvPr id="409" name="TextBox 408">
            <a:extLst>
              <a:ext uri="{FF2B5EF4-FFF2-40B4-BE49-F238E27FC236}">
                <a16:creationId xmlns:a16="http://schemas.microsoft.com/office/drawing/2014/main" id="{33C638C9-A894-C800-D961-E361E973ECA1}"/>
              </a:ext>
            </a:extLst>
          </p:cNvPr>
          <p:cNvSpPr txBox="1"/>
          <p:nvPr/>
        </p:nvSpPr>
        <p:spPr>
          <a:xfrm>
            <a:off x="2946392" y="127618"/>
            <a:ext cx="513282"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2017</a:t>
            </a:r>
          </a:p>
        </p:txBody>
      </p:sp>
      <p:sp>
        <p:nvSpPr>
          <p:cNvPr id="410" name="TextBox 409">
            <a:extLst>
              <a:ext uri="{FF2B5EF4-FFF2-40B4-BE49-F238E27FC236}">
                <a16:creationId xmlns:a16="http://schemas.microsoft.com/office/drawing/2014/main" id="{50F1A73F-4CED-C9B6-896C-FB7BA8A781DC}"/>
              </a:ext>
            </a:extLst>
          </p:cNvPr>
          <p:cNvSpPr txBox="1"/>
          <p:nvPr/>
        </p:nvSpPr>
        <p:spPr>
          <a:xfrm>
            <a:off x="4337208" y="127618"/>
            <a:ext cx="530915"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2018</a:t>
            </a:r>
          </a:p>
        </p:txBody>
      </p:sp>
      <p:sp>
        <p:nvSpPr>
          <p:cNvPr id="417" name="Rectangle 416">
            <a:extLst>
              <a:ext uri="{FF2B5EF4-FFF2-40B4-BE49-F238E27FC236}">
                <a16:creationId xmlns:a16="http://schemas.microsoft.com/office/drawing/2014/main" id="{955C6E00-EA50-E7AD-9C3A-C92755634899}"/>
              </a:ext>
            </a:extLst>
          </p:cNvPr>
          <p:cNvSpPr/>
          <p:nvPr/>
        </p:nvSpPr>
        <p:spPr>
          <a:xfrm>
            <a:off x="419439" y="296900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p:txBody>
      </p:sp>
      <p:sp>
        <p:nvSpPr>
          <p:cNvPr id="420" name="Rectangle 419">
            <a:extLst>
              <a:ext uri="{FF2B5EF4-FFF2-40B4-BE49-F238E27FC236}">
                <a16:creationId xmlns:a16="http://schemas.microsoft.com/office/drawing/2014/main" id="{F6E1AD4D-0970-C6EB-7EC4-B918A0EB7756}"/>
              </a:ext>
            </a:extLst>
          </p:cNvPr>
          <p:cNvSpPr/>
          <p:nvPr/>
        </p:nvSpPr>
        <p:spPr>
          <a:xfrm>
            <a:off x="9633918" y="5620450"/>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rade Marketing</a:t>
            </a:r>
          </a:p>
        </p:txBody>
      </p:sp>
      <p:sp>
        <p:nvSpPr>
          <p:cNvPr id="421" name="Rectangle 420">
            <a:extLst>
              <a:ext uri="{FF2B5EF4-FFF2-40B4-BE49-F238E27FC236}">
                <a16:creationId xmlns:a16="http://schemas.microsoft.com/office/drawing/2014/main" id="{F577D6C5-F246-88B1-E448-1919303F761C}"/>
              </a:ext>
            </a:extLst>
          </p:cNvPr>
          <p:cNvSpPr/>
          <p:nvPr/>
        </p:nvSpPr>
        <p:spPr>
          <a:xfrm>
            <a:off x="9628969" y="2319392"/>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2" name="Rectangle 421">
            <a:extLst>
              <a:ext uri="{FF2B5EF4-FFF2-40B4-BE49-F238E27FC236}">
                <a16:creationId xmlns:a16="http://schemas.microsoft.com/office/drawing/2014/main" id="{2CC07D5F-B041-ADE0-C9DC-7791AFC762D6}"/>
              </a:ext>
            </a:extLst>
          </p:cNvPr>
          <p:cNvSpPr/>
          <p:nvPr/>
        </p:nvSpPr>
        <p:spPr>
          <a:xfrm>
            <a:off x="9628969" y="2620874"/>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3" name="Rectangle 422">
            <a:extLst>
              <a:ext uri="{FF2B5EF4-FFF2-40B4-BE49-F238E27FC236}">
                <a16:creationId xmlns:a16="http://schemas.microsoft.com/office/drawing/2014/main" id="{A1CE1A52-01B4-1DBC-CCBD-9E28EF996FC6}"/>
              </a:ext>
            </a:extLst>
          </p:cNvPr>
          <p:cNvSpPr/>
          <p:nvPr/>
        </p:nvSpPr>
        <p:spPr>
          <a:xfrm>
            <a:off x="9628969" y="2922356"/>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4" name="Rectangle 423">
            <a:extLst>
              <a:ext uri="{FF2B5EF4-FFF2-40B4-BE49-F238E27FC236}">
                <a16:creationId xmlns:a16="http://schemas.microsoft.com/office/drawing/2014/main" id="{E2BD4BF1-4F64-6A74-080F-D1F9E17BEC5E}"/>
              </a:ext>
            </a:extLst>
          </p:cNvPr>
          <p:cNvSpPr/>
          <p:nvPr/>
        </p:nvSpPr>
        <p:spPr>
          <a:xfrm>
            <a:off x="9628969" y="3223837"/>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5" name="Rectangle 424">
            <a:extLst>
              <a:ext uri="{FF2B5EF4-FFF2-40B4-BE49-F238E27FC236}">
                <a16:creationId xmlns:a16="http://schemas.microsoft.com/office/drawing/2014/main" id="{4958C8D6-9964-061B-2382-76332C331A44}"/>
              </a:ext>
            </a:extLst>
          </p:cNvPr>
          <p:cNvSpPr/>
          <p:nvPr/>
        </p:nvSpPr>
        <p:spPr>
          <a:xfrm>
            <a:off x="9628969" y="3525319"/>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6" name="Rectangle 425">
            <a:extLst>
              <a:ext uri="{FF2B5EF4-FFF2-40B4-BE49-F238E27FC236}">
                <a16:creationId xmlns:a16="http://schemas.microsoft.com/office/drawing/2014/main" id="{D3254E9D-7D83-47B7-7D60-30841516F704}"/>
              </a:ext>
            </a:extLst>
          </p:cNvPr>
          <p:cNvSpPr/>
          <p:nvPr/>
        </p:nvSpPr>
        <p:spPr>
          <a:xfrm>
            <a:off x="9628969" y="3826801"/>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7" name="Rectangle 426">
            <a:extLst>
              <a:ext uri="{FF2B5EF4-FFF2-40B4-BE49-F238E27FC236}">
                <a16:creationId xmlns:a16="http://schemas.microsoft.com/office/drawing/2014/main" id="{FA1C6158-D629-3ACC-182B-702DA5CEB620}"/>
              </a:ext>
            </a:extLst>
          </p:cNvPr>
          <p:cNvSpPr/>
          <p:nvPr/>
        </p:nvSpPr>
        <p:spPr>
          <a:xfrm>
            <a:off x="9628969" y="4128283"/>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8" name="Rectangle 427">
            <a:extLst>
              <a:ext uri="{FF2B5EF4-FFF2-40B4-BE49-F238E27FC236}">
                <a16:creationId xmlns:a16="http://schemas.microsoft.com/office/drawing/2014/main" id="{B34B299C-995C-A860-A54D-95FCF8043490}"/>
              </a:ext>
            </a:extLst>
          </p:cNvPr>
          <p:cNvSpPr/>
          <p:nvPr/>
        </p:nvSpPr>
        <p:spPr>
          <a:xfrm>
            <a:off x="9628969" y="4429766"/>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9" name="Rectangle 428">
            <a:extLst>
              <a:ext uri="{FF2B5EF4-FFF2-40B4-BE49-F238E27FC236}">
                <a16:creationId xmlns:a16="http://schemas.microsoft.com/office/drawing/2014/main" id="{2910CB2E-1FA3-4D66-D51A-76660BA30707}"/>
              </a:ext>
            </a:extLst>
          </p:cNvPr>
          <p:cNvSpPr/>
          <p:nvPr/>
        </p:nvSpPr>
        <p:spPr>
          <a:xfrm>
            <a:off x="9628969" y="4731248"/>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0" name="Rectangle 429">
            <a:extLst>
              <a:ext uri="{FF2B5EF4-FFF2-40B4-BE49-F238E27FC236}">
                <a16:creationId xmlns:a16="http://schemas.microsoft.com/office/drawing/2014/main" id="{0A2DA5BF-8ABD-B345-3F05-7E94DF000070}"/>
              </a:ext>
            </a:extLst>
          </p:cNvPr>
          <p:cNvSpPr/>
          <p:nvPr/>
        </p:nvSpPr>
        <p:spPr>
          <a:xfrm>
            <a:off x="9628969" y="5032730"/>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1" name="TextBox 430">
            <a:extLst>
              <a:ext uri="{FF2B5EF4-FFF2-40B4-BE49-F238E27FC236}">
                <a16:creationId xmlns:a16="http://schemas.microsoft.com/office/drawing/2014/main" id="{A2EFB756-A063-8C57-88A3-2C9328881F91}"/>
              </a:ext>
            </a:extLst>
          </p:cNvPr>
          <p:cNvSpPr txBox="1"/>
          <p:nvPr/>
        </p:nvSpPr>
        <p:spPr>
          <a:xfrm>
            <a:off x="9908048" y="2354717"/>
            <a:ext cx="1494319"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Business Development</a:t>
            </a:r>
          </a:p>
        </p:txBody>
      </p:sp>
      <p:sp>
        <p:nvSpPr>
          <p:cNvPr id="432" name="TextBox 431">
            <a:extLst>
              <a:ext uri="{FF2B5EF4-FFF2-40B4-BE49-F238E27FC236}">
                <a16:creationId xmlns:a16="http://schemas.microsoft.com/office/drawing/2014/main" id="{BF086764-A61E-1766-C1DE-CF981DEE0440}"/>
              </a:ext>
            </a:extLst>
          </p:cNvPr>
          <p:cNvSpPr txBox="1"/>
          <p:nvPr/>
        </p:nvSpPr>
        <p:spPr>
          <a:xfrm>
            <a:off x="9882397" y="2656199"/>
            <a:ext cx="154561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Category Management</a:t>
            </a:r>
          </a:p>
        </p:txBody>
      </p:sp>
      <p:sp>
        <p:nvSpPr>
          <p:cNvPr id="433" name="TextBox 432">
            <a:extLst>
              <a:ext uri="{FF2B5EF4-FFF2-40B4-BE49-F238E27FC236}">
                <a16:creationId xmlns:a16="http://schemas.microsoft.com/office/drawing/2014/main" id="{9E0F0733-B49C-7A85-E078-2B457AFEB422}"/>
              </a:ext>
            </a:extLst>
          </p:cNvPr>
          <p:cNvSpPr txBox="1"/>
          <p:nvPr/>
        </p:nvSpPr>
        <p:spPr>
          <a:xfrm>
            <a:off x="9893613" y="2957681"/>
            <a:ext cx="152317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Channel Management </a:t>
            </a:r>
          </a:p>
        </p:txBody>
      </p:sp>
      <p:sp>
        <p:nvSpPr>
          <p:cNvPr id="434" name="TextBox 433">
            <a:extLst>
              <a:ext uri="{FF2B5EF4-FFF2-40B4-BE49-F238E27FC236}">
                <a16:creationId xmlns:a16="http://schemas.microsoft.com/office/drawing/2014/main" id="{BD130895-19F3-B86D-EF3D-AB1971BF7C47}"/>
              </a:ext>
            </a:extLst>
          </p:cNvPr>
          <p:cNvSpPr txBox="1"/>
          <p:nvPr/>
        </p:nvSpPr>
        <p:spPr>
          <a:xfrm>
            <a:off x="10219830" y="3259162"/>
            <a:ext cx="870751"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Distribution </a:t>
            </a:r>
          </a:p>
        </p:txBody>
      </p:sp>
      <p:sp>
        <p:nvSpPr>
          <p:cNvPr id="435" name="TextBox 434">
            <a:extLst>
              <a:ext uri="{FF2B5EF4-FFF2-40B4-BE49-F238E27FC236}">
                <a16:creationId xmlns:a16="http://schemas.microsoft.com/office/drawing/2014/main" id="{5FF7522B-9FAA-7ED1-8FF8-CD351E501FCF}"/>
              </a:ext>
            </a:extLst>
          </p:cNvPr>
          <p:cNvSpPr txBox="1"/>
          <p:nvPr/>
        </p:nvSpPr>
        <p:spPr>
          <a:xfrm>
            <a:off x="9855950" y="3560644"/>
            <a:ext cx="1598515"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Distributor Management</a:t>
            </a:r>
          </a:p>
        </p:txBody>
      </p:sp>
      <p:sp>
        <p:nvSpPr>
          <p:cNvPr id="436" name="TextBox 435">
            <a:extLst>
              <a:ext uri="{FF2B5EF4-FFF2-40B4-BE49-F238E27FC236}">
                <a16:creationId xmlns:a16="http://schemas.microsoft.com/office/drawing/2014/main" id="{BFEC5A55-179A-E1C1-5436-4DEFDF9CD0F4}"/>
              </a:ext>
            </a:extLst>
          </p:cNvPr>
          <p:cNvSpPr txBox="1"/>
          <p:nvPr/>
        </p:nvSpPr>
        <p:spPr>
          <a:xfrm>
            <a:off x="9924879" y="3862127"/>
            <a:ext cx="146065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General Management</a:t>
            </a:r>
          </a:p>
        </p:txBody>
      </p:sp>
      <p:sp>
        <p:nvSpPr>
          <p:cNvPr id="437" name="TextBox 436">
            <a:extLst>
              <a:ext uri="{FF2B5EF4-FFF2-40B4-BE49-F238E27FC236}">
                <a16:creationId xmlns:a16="http://schemas.microsoft.com/office/drawing/2014/main" id="{1C5D2085-6F72-FBE1-7423-7E864138A668}"/>
              </a:ext>
            </a:extLst>
          </p:cNvPr>
          <p:cNvSpPr txBox="1"/>
          <p:nvPr/>
        </p:nvSpPr>
        <p:spPr>
          <a:xfrm>
            <a:off x="9794233" y="4165168"/>
            <a:ext cx="1721945"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Key Account Management</a:t>
            </a:r>
          </a:p>
        </p:txBody>
      </p:sp>
      <p:sp>
        <p:nvSpPr>
          <p:cNvPr id="438" name="TextBox 437">
            <a:extLst>
              <a:ext uri="{FF2B5EF4-FFF2-40B4-BE49-F238E27FC236}">
                <a16:creationId xmlns:a16="http://schemas.microsoft.com/office/drawing/2014/main" id="{98B3BC0C-716C-8AAF-1160-2B671974C2F7}"/>
              </a:ext>
            </a:extLst>
          </p:cNvPr>
          <p:cNvSpPr txBox="1"/>
          <p:nvPr/>
        </p:nvSpPr>
        <p:spPr>
          <a:xfrm>
            <a:off x="10275132" y="4465090"/>
            <a:ext cx="76014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Marketing</a:t>
            </a:r>
          </a:p>
        </p:txBody>
      </p:sp>
      <p:sp>
        <p:nvSpPr>
          <p:cNvPr id="439" name="TextBox 438">
            <a:extLst>
              <a:ext uri="{FF2B5EF4-FFF2-40B4-BE49-F238E27FC236}">
                <a16:creationId xmlns:a16="http://schemas.microsoft.com/office/drawing/2014/main" id="{849FFBEC-3223-322E-74E8-4C8ECA703AF7}"/>
              </a:ext>
            </a:extLst>
          </p:cNvPr>
          <p:cNvSpPr txBox="1"/>
          <p:nvPr/>
        </p:nvSpPr>
        <p:spPr>
          <a:xfrm>
            <a:off x="9938504" y="4766573"/>
            <a:ext cx="143340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Marketing Operations</a:t>
            </a:r>
          </a:p>
        </p:txBody>
      </p:sp>
      <p:sp>
        <p:nvSpPr>
          <p:cNvPr id="440" name="TextBox 439">
            <a:extLst>
              <a:ext uri="{FF2B5EF4-FFF2-40B4-BE49-F238E27FC236}">
                <a16:creationId xmlns:a16="http://schemas.microsoft.com/office/drawing/2014/main" id="{F68FC809-14F5-0DF5-0067-DF938CC217FC}"/>
              </a:ext>
            </a:extLst>
          </p:cNvPr>
          <p:cNvSpPr txBox="1"/>
          <p:nvPr/>
        </p:nvSpPr>
        <p:spPr>
          <a:xfrm>
            <a:off x="10031042" y="5068055"/>
            <a:ext cx="130997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Sales Management</a:t>
            </a:r>
          </a:p>
        </p:txBody>
      </p:sp>
      <p:sp>
        <p:nvSpPr>
          <p:cNvPr id="442" name="Rectangle 441">
            <a:extLst>
              <a:ext uri="{FF2B5EF4-FFF2-40B4-BE49-F238E27FC236}">
                <a16:creationId xmlns:a16="http://schemas.microsoft.com/office/drawing/2014/main" id="{36EB569B-E96B-B008-C288-73AB6CCBA0B7}"/>
              </a:ext>
            </a:extLst>
          </p:cNvPr>
          <p:cNvSpPr/>
          <p:nvPr/>
        </p:nvSpPr>
        <p:spPr>
          <a:xfrm>
            <a:off x="9627257" y="5336629"/>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hopper Marketing</a:t>
            </a:r>
          </a:p>
        </p:txBody>
      </p:sp>
      <p:sp>
        <p:nvSpPr>
          <p:cNvPr id="50" name="TextBox 49">
            <a:extLst>
              <a:ext uri="{FF2B5EF4-FFF2-40B4-BE49-F238E27FC236}">
                <a16:creationId xmlns:a16="http://schemas.microsoft.com/office/drawing/2014/main" id="{3064A203-FB6F-7659-079D-6BCAC94CF1C7}"/>
              </a:ext>
            </a:extLst>
          </p:cNvPr>
          <p:cNvSpPr txBox="1"/>
          <p:nvPr/>
        </p:nvSpPr>
        <p:spPr>
          <a:xfrm>
            <a:off x="295246" y="458275"/>
            <a:ext cx="11652986"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84B8D"/>
                </a:solidFill>
                <a:effectLst/>
                <a:uLnTx/>
                <a:uFillTx/>
                <a:latin typeface="-apple-system"/>
                <a:ea typeface="+mn-ea"/>
                <a:cs typeface="+mn-cs"/>
              </a:rPr>
              <a:t>100’s of tools grouped in 12 categories, 50 tool types and 12 business functions in 1 place</a:t>
            </a:r>
            <a:r>
              <a:rPr kumimoji="0" lang="en-GB" sz="2400" b="0" i="0" u="none" strike="noStrike" kern="1200" cap="none" spc="0" normalizeH="0" baseline="0" noProof="0" dirty="0">
                <a:ln>
                  <a:noFill/>
                </a:ln>
                <a:solidFill>
                  <a:prstClr val="black"/>
                </a:solidFill>
                <a:effectLst/>
                <a:uLnTx/>
                <a:uFillTx/>
                <a:latin typeface="Inter"/>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4B8D"/>
                </a:solidFill>
                <a:effectLst/>
                <a:uLnTx/>
                <a:uFillTx/>
                <a:latin typeface="-apple-system"/>
                <a:ea typeface="+mn-ea"/>
                <a:cs typeface="+mn-cs"/>
              </a:rPr>
              <a:t>get </a:t>
            </a:r>
            <a:r>
              <a:rPr kumimoji="0" lang="en-GB" sz="1800" b="1" i="0" u="none" strike="noStrike" kern="1200" cap="none" spc="0" normalizeH="0" baseline="0" noProof="0" dirty="0">
                <a:ln>
                  <a:noFill/>
                </a:ln>
                <a:solidFill>
                  <a:srgbClr val="A6BF0A"/>
                </a:solidFill>
                <a:effectLst/>
                <a:uLnTx/>
                <a:uFillTx/>
                <a:latin typeface="-apple-system"/>
                <a:ea typeface="+mn-ea"/>
                <a:cs typeface="+mn-cs"/>
              </a:rPr>
              <a:t>10X</a:t>
            </a:r>
            <a:r>
              <a:rPr kumimoji="0" lang="en-GB" sz="1800" b="1" i="0" u="none" strike="noStrike" kern="1200" cap="none" spc="0" normalizeH="0" baseline="0" noProof="0" dirty="0">
                <a:ln>
                  <a:noFill/>
                </a:ln>
                <a:solidFill>
                  <a:srgbClr val="284B8D"/>
                </a:solidFill>
                <a:effectLst/>
                <a:uLnTx/>
                <a:uFillTx/>
                <a:latin typeface="-apple-system"/>
                <a:ea typeface="+mn-ea"/>
                <a:cs typeface="+mn-cs"/>
              </a:rPr>
              <a:t> productive now !</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0431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A39193F-696B-E69C-E93A-AB06F607D210}"/>
              </a:ext>
            </a:extLst>
          </p:cNvPr>
          <p:cNvSpPr txBox="1"/>
          <p:nvPr/>
        </p:nvSpPr>
        <p:spPr>
          <a:xfrm>
            <a:off x="97774" y="54694"/>
            <a:ext cx="6413314" cy="80509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Financials </a:t>
            </a:r>
          </a:p>
        </p:txBody>
      </p:sp>
      <p:graphicFrame>
        <p:nvGraphicFramePr>
          <p:cNvPr id="4" name="Table 3">
            <a:extLst>
              <a:ext uri="{FF2B5EF4-FFF2-40B4-BE49-F238E27FC236}">
                <a16:creationId xmlns:a16="http://schemas.microsoft.com/office/drawing/2014/main" id="{4C8C1D5E-CCED-1E5C-3832-85DE8FA3B60A}"/>
              </a:ext>
            </a:extLst>
          </p:cNvPr>
          <p:cNvGraphicFramePr>
            <a:graphicFrameLocks noGrp="1"/>
          </p:cNvGraphicFramePr>
          <p:nvPr>
            <p:extLst>
              <p:ext uri="{D42A27DB-BD31-4B8C-83A1-F6EECF244321}">
                <p14:modId xmlns:p14="http://schemas.microsoft.com/office/powerpoint/2010/main" val="3919181385"/>
              </p:ext>
            </p:extLst>
          </p:nvPr>
        </p:nvGraphicFramePr>
        <p:xfrm>
          <a:off x="1778225" y="880793"/>
          <a:ext cx="8546037" cy="4683822"/>
        </p:xfrm>
        <a:graphic>
          <a:graphicData uri="http://schemas.openxmlformats.org/drawingml/2006/table">
            <a:tbl>
              <a:tblPr firstRow="1" bandRow="1">
                <a:tableStyleId>{5C22544A-7EE6-4342-B048-85BDC9FD1C3A}</a:tableStyleId>
              </a:tblPr>
              <a:tblGrid>
                <a:gridCol w="2848679">
                  <a:extLst>
                    <a:ext uri="{9D8B030D-6E8A-4147-A177-3AD203B41FA5}">
                      <a16:colId xmlns:a16="http://schemas.microsoft.com/office/drawing/2014/main" val="3089287148"/>
                    </a:ext>
                  </a:extLst>
                </a:gridCol>
                <a:gridCol w="2848679">
                  <a:extLst>
                    <a:ext uri="{9D8B030D-6E8A-4147-A177-3AD203B41FA5}">
                      <a16:colId xmlns:a16="http://schemas.microsoft.com/office/drawing/2014/main" val="2898970860"/>
                    </a:ext>
                  </a:extLst>
                </a:gridCol>
                <a:gridCol w="2848679">
                  <a:extLst>
                    <a:ext uri="{9D8B030D-6E8A-4147-A177-3AD203B41FA5}">
                      <a16:colId xmlns:a16="http://schemas.microsoft.com/office/drawing/2014/main" val="1666896698"/>
                    </a:ext>
                  </a:extLst>
                </a:gridCol>
              </a:tblGrid>
              <a:tr h="326167">
                <a:tc>
                  <a:txBody>
                    <a:bodyPr/>
                    <a:lstStyle/>
                    <a:p>
                      <a:endParaRPr lang="en-GB" sz="1200" dirty="0"/>
                    </a:p>
                  </a:txBody>
                  <a:tcPr>
                    <a:solidFill>
                      <a:schemeClr val="bg1"/>
                    </a:solidFill>
                  </a:tcPr>
                </a:tc>
                <a:tc>
                  <a:txBody>
                    <a:bodyPr/>
                    <a:lstStyle/>
                    <a:p>
                      <a:pPr algn="ctr"/>
                      <a:r>
                        <a:rPr lang="en-GB" sz="1200" dirty="0"/>
                        <a:t>View A</a:t>
                      </a:r>
                    </a:p>
                  </a:txBody>
                  <a:tcPr/>
                </a:tc>
                <a:tc>
                  <a:txBody>
                    <a:bodyPr/>
                    <a:lstStyle/>
                    <a:p>
                      <a:pPr algn="ctr"/>
                      <a:r>
                        <a:rPr lang="en-GB" sz="1200" dirty="0"/>
                        <a:t>View B</a:t>
                      </a:r>
                    </a:p>
                  </a:txBody>
                  <a:tcPr/>
                </a:tc>
                <a:extLst>
                  <a:ext uri="{0D108BD9-81ED-4DB2-BD59-A6C34878D82A}">
                    <a16:rowId xmlns:a16="http://schemas.microsoft.com/office/drawing/2014/main" val="4125823740"/>
                  </a:ext>
                </a:extLst>
              </a:tr>
              <a:tr h="300035">
                <a:tc>
                  <a:txBody>
                    <a:bodyPr/>
                    <a:lstStyle/>
                    <a:p>
                      <a:r>
                        <a:rPr lang="en-GB" sz="1000" dirty="0"/>
                        <a:t>Revenue ( Estimated ) 1.0 </a:t>
                      </a:r>
                    </a:p>
                  </a:txBody>
                  <a:tcPr/>
                </a:tc>
                <a:tc>
                  <a:txBody>
                    <a:bodyPr/>
                    <a:lstStyle/>
                    <a:p>
                      <a:endParaRPr lang="en-GB" sz="1000"/>
                    </a:p>
                  </a:txBody>
                  <a:tcPr/>
                </a:tc>
                <a:tc>
                  <a:txBody>
                    <a:bodyPr/>
                    <a:lstStyle/>
                    <a:p>
                      <a:endParaRPr lang="en-GB" sz="1000"/>
                    </a:p>
                  </a:txBody>
                  <a:tcPr/>
                </a:tc>
                <a:extLst>
                  <a:ext uri="{0D108BD9-81ED-4DB2-BD59-A6C34878D82A}">
                    <a16:rowId xmlns:a16="http://schemas.microsoft.com/office/drawing/2014/main" val="2679832457"/>
                  </a:ext>
                </a:extLst>
              </a:tr>
              <a:tr h="300035">
                <a:tc>
                  <a:txBody>
                    <a:bodyPr/>
                    <a:lstStyle/>
                    <a:p>
                      <a:r>
                        <a:rPr lang="en-GB" sz="1000" dirty="0"/>
                        <a:t>Cost breakdown ( 2.0 ) </a:t>
                      </a:r>
                    </a:p>
                  </a:txBody>
                  <a:tcPr/>
                </a:tc>
                <a:tc>
                  <a:txBody>
                    <a:bodyPr/>
                    <a:lstStyle/>
                    <a:p>
                      <a:endParaRPr lang="en-GB" sz="1000"/>
                    </a:p>
                  </a:txBody>
                  <a:tcPr/>
                </a:tc>
                <a:tc>
                  <a:txBody>
                    <a:bodyPr/>
                    <a:lstStyle/>
                    <a:p>
                      <a:endParaRPr lang="en-GB" sz="1000"/>
                    </a:p>
                  </a:txBody>
                  <a:tcPr/>
                </a:tc>
                <a:extLst>
                  <a:ext uri="{0D108BD9-81ED-4DB2-BD59-A6C34878D82A}">
                    <a16:rowId xmlns:a16="http://schemas.microsoft.com/office/drawing/2014/main" val="3737837026"/>
                  </a:ext>
                </a:extLst>
              </a:tr>
              <a:tr h="300035">
                <a:tc>
                  <a:txBody>
                    <a:bodyPr/>
                    <a:lstStyle/>
                    <a:p>
                      <a:pPr algn="r"/>
                      <a:r>
                        <a:rPr lang="en-GB" sz="1000" dirty="0"/>
                        <a:t>Code A</a:t>
                      </a:r>
                    </a:p>
                  </a:txBody>
                  <a:tcPr/>
                </a:tc>
                <a:tc>
                  <a:txBody>
                    <a:bodyPr/>
                    <a:lstStyle/>
                    <a:p>
                      <a:endParaRPr lang="en-GB" sz="1000"/>
                    </a:p>
                  </a:txBody>
                  <a:tcPr/>
                </a:tc>
                <a:tc>
                  <a:txBody>
                    <a:bodyPr/>
                    <a:lstStyle/>
                    <a:p>
                      <a:endParaRPr lang="en-GB" sz="1000"/>
                    </a:p>
                  </a:txBody>
                  <a:tcPr/>
                </a:tc>
                <a:extLst>
                  <a:ext uri="{0D108BD9-81ED-4DB2-BD59-A6C34878D82A}">
                    <a16:rowId xmlns:a16="http://schemas.microsoft.com/office/drawing/2014/main" val="1681799949"/>
                  </a:ext>
                </a:extLst>
              </a:tr>
              <a:tr h="300035">
                <a:tc>
                  <a:txBody>
                    <a:bodyPr/>
                    <a:lstStyle/>
                    <a:p>
                      <a:pPr algn="r"/>
                      <a:r>
                        <a:rPr lang="en-GB" sz="1000" dirty="0"/>
                        <a:t>Code B</a:t>
                      </a:r>
                    </a:p>
                  </a:txBody>
                  <a:tcPr/>
                </a:tc>
                <a:tc>
                  <a:txBody>
                    <a:bodyPr/>
                    <a:lstStyle/>
                    <a:p>
                      <a:endParaRPr lang="en-GB" sz="1000" dirty="0"/>
                    </a:p>
                  </a:txBody>
                  <a:tcPr/>
                </a:tc>
                <a:tc>
                  <a:txBody>
                    <a:bodyPr/>
                    <a:lstStyle/>
                    <a:p>
                      <a:endParaRPr lang="en-GB" sz="1000"/>
                    </a:p>
                  </a:txBody>
                  <a:tcPr/>
                </a:tc>
                <a:extLst>
                  <a:ext uri="{0D108BD9-81ED-4DB2-BD59-A6C34878D82A}">
                    <a16:rowId xmlns:a16="http://schemas.microsoft.com/office/drawing/2014/main" val="1630326191"/>
                  </a:ext>
                </a:extLst>
              </a:tr>
              <a:tr h="300035">
                <a:tc>
                  <a:txBody>
                    <a:bodyPr/>
                    <a:lstStyle/>
                    <a:p>
                      <a:pPr algn="r"/>
                      <a:r>
                        <a:rPr lang="en-GB" sz="1000" dirty="0"/>
                        <a:t>Code C</a:t>
                      </a:r>
                    </a:p>
                  </a:txBody>
                  <a:tcPr/>
                </a:tc>
                <a:tc>
                  <a:txBody>
                    <a:bodyPr/>
                    <a:lstStyle/>
                    <a:p>
                      <a:endParaRPr lang="en-GB" sz="1000" dirty="0"/>
                    </a:p>
                  </a:txBody>
                  <a:tcPr/>
                </a:tc>
                <a:tc>
                  <a:txBody>
                    <a:bodyPr/>
                    <a:lstStyle/>
                    <a:p>
                      <a:endParaRPr lang="en-GB" sz="1000"/>
                    </a:p>
                  </a:txBody>
                  <a:tcPr/>
                </a:tc>
                <a:extLst>
                  <a:ext uri="{0D108BD9-81ED-4DB2-BD59-A6C34878D82A}">
                    <a16:rowId xmlns:a16="http://schemas.microsoft.com/office/drawing/2014/main" val="1516576759"/>
                  </a:ext>
                </a:extLst>
              </a:tr>
              <a:tr h="300035">
                <a:tc>
                  <a:txBody>
                    <a:bodyPr/>
                    <a:lstStyle/>
                    <a:p>
                      <a:pPr algn="r"/>
                      <a:r>
                        <a:rPr lang="en-GB" sz="1000" dirty="0"/>
                        <a:t>Code D</a:t>
                      </a:r>
                    </a:p>
                  </a:txBody>
                  <a:tcPr/>
                </a:tc>
                <a:tc>
                  <a:txBody>
                    <a:bodyPr/>
                    <a:lstStyle/>
                    <a:p>
                      <a:endParaRPr lang="en-GB" sz="1000" dirty="0"/>
                    </a:p>
                  </a:txBody>
                  <a:tcPr/>
                </a:tc>
                <a:tc>
                  <a:txBody>
                    <a:bodyPr/>
                    <a:lstStyle/>
                    <a:p>
                      <a:endParaRPr lang="en-GB" sz="1000"/>
                    </a:p>
                  </a:txBody>
                  <a:tcPr/>
                </a:tc>
                <a:extLst>
                  <a:ext uri="{0D108BD9-81ED-4DB2-BD59-A6C34878D82A}">
                    <a16:rowId xmlns:a16="http://schemas.microsoft.com/office/drawing/2014/main" val="4126370213"/>
                  </a:ext>
                </a:extLst>
              </a:tr>
              <a:tr h="300035">
                <a:tc>
                  <a:txBody>
                    <a:bodyPr/>
                    <a:lstStyle/>
                    <a:p>
                      <a:pPr algn="r"/>
                      <a:r>
                        <a:rPr lang="en-GB" sz="1000" dirty="0"/>
                        <a:t>Code E</a:t>
                      </a:r>
                    </a:p>
                  </a:txBody>
                  <a:tcPr/>
                </a:tc>
                <a:tc>
                  <a:txBody>
                    <a:bodyPr/>
                    <a:lstStyle/>
                    <a:p>
                      <a:endParaRPr lang="en-GB" sz="1000" dirty="0"/>
                    </a:p>
                  </a:txBody>
                  <a:tcPr/>
                </a:tc>
                <a:tc>
                  <a:txBody>
                    <a:bodyPr/>
                    <a:lstStyle/>
                    <a:p>
                      <a:endParaRPr lang="en-GB" sz="1000"/>
                    </a:p>
                  </a:txBody>
                  <a:tcPr/>
                </a:tc>
                <a:extLst>
                  <a:ext uri="{0D108BD9-81ED-4DB2-BD59-A6C34878D82A}">
                    <a16:rowId xmlns:a16="http://schemas.microsoft.com/office/drawing/2014/main" val="1570539879"/>
                  </a:ext>
                </a:extLst>
              </a:tr>
              <a:tr h="300035">
                <a:tc>
                  <a:txBody>
                    <a:bodyPr/>
                    <a:lstStyle/>
                    <a:p>
                      <a:pPr algn="r"/>
                      <a:r>
                        <a:rPr lang="en-GB" sz="1000" dirty="0"/>
                        <a:t>Code F</a:t>
                      </a:r>
                    </a:p>
                  </a:txBody>
                  <a:tcPr/>
                </a:tc>
                <a:tc>
                  <a:txBody>
                    <a:bodyPr/>
                    <a:lstStyle/>
                    <a:p>
                      <a:endParaRPr lang="en-GB" sz="1000" dirty="0"/>
                    </a:p>
                  </a:txBody>
                  <a:tcPr/>
                </a:tc>
                <a:tc>
                  <a:txBody>
                    <a:bodyPr/>
                    <a:lstStyle/>
                    <a:p>
                      <a:endParaRPr lang="en-GB" sz="1000" dirty="0"/>
                    </a:p>
                  </a:txBody>
                  <a:tcPr/>
                </a:tc>
                <a:extLst>
                  <a:ext uri="{0D108BD9-81ED-4DB2-BD59-A6C34878D82A}">
                    <a16:rowId xmlns:a16="http://schemas.microsoft.com/office/drawing/2014/main" val="1096653585"/>
                  </a:ext>
                </a:extLst>
              </a:tr>
              <a:tr h="300035">
                <a:tc>
                  <a:txBody>
                    <a:bodyPr/>
                    <a:lstStyle/>
                    <a:p>
                      <a:pPr algn="r"/>
                      <a:r>
                        <a:rPr lang="en-GB" sz="1000" dirty="0"/>
                        <a:t>Code G</a:t>
                      </a:r>
                    </a:p>
                  </a:txBody>
                  <a:tcPr/>
                </a:tc>
                <a:tc>
                  <a:txBody>
                    <a:bodyPr/>
                    <a:lstStyle/>
                    <a:p>
                      <a:endParaRPr lang="en-GB" sz="1000" dirty="0"/>
                    </a:p>
                  </a:txBody>
                  <a:tcPr/>
                </a:tc>
                <a:tc>
                  <a:txBody>
                    <a:bodyPr/>
                    <a:lstStyle/>
                    <a:p>
                      <a:endParaRPr lang="en-GB" sz="1000" dirty="0"/>
                    </a:p>
                  </a:txBody>
                  <a:tcPr/>
                </a:tc>
                <a:extLst>
                  <a:ext uri="{0D108BD9-81ED-4DB2-BD59-A6C34878D82A}">
                    <a16:rowId xmlns:a16="http://schemas.microsoft.com/office/drawing/2014/main" val="743215810"/>
                  </a:ext>
                </a:extLst>
              </a:tr>
              <a:tr h="300035">
                <a:tc>
                  <a:txBody>
                    <a:bodyPr/>
                    <a:lstStyle/>
                    <a:p>
                      <a:pPr algn="r"/>
                      <a:r>
                        <a:rPr lang="en-GB" sz="1000" dirty="0"/>
                        <a:t>Code H</a:t>
                      </a:r>
                    </a:p>
                  </a:txBody>
                  <a:tcPr/>
                </a:tc>
                <a:tc>
                  <a:txBody>
                    <a:bodyPr/>
                    <a:lstStyle/>
                    <a:p>
                      <a:endParaRPr lang="en-GB" sz="1000" dirty="0"/>
                    </a:p>
                  </a:txBody>
                  <a:tcPr/>
                </a:tc>
                <a:tc>
                  <a:txBody>
                    <a:bodyPr/>
                    <a:lstStyle/>
                    <a:p>
                      <a:endParaRPr lang="en-GB" sz="1000" dirty="0"/>
                    </a:p>
                  </a:txBody>
                  <a:tcPr/>
                </a:tc>
                <a:extLst>
                  <a:ext uri="{0D108BD9-81ED-4DB2-BD59-A6C34878D82A}">
                    <a16:rowId xmlns:a16="http://schemas.microsoft.com/office/drawing/2014/main" val="3390887725"/>
                  </a:ext>
                </a:extLst>
              </a:tr>
              <a:tr h="300035">
                <a:tc>
                  <a:txBody>
                    <a:bodyPr/>
                    <a:lstStyle/>
                    <a:p>
                      <a:pPr algn="r"/>
                      <a:r>
                        <a:rPr lang="en-GB" sz="1000" dirty="0"/>
                        <a:t>Code I</a:t>
                      </a:r>
                    </a:p>
                  </a:txBody>
                  <a:tcPr/>
                </a:tc>
                <a:tc>
                  <a:txBody>
                    <a:bodyPr/>
                    <a:lstStyle/>
                    <a:p>
                      <a:endParaRPr lang="en-GB" sz="1000" dirty="0"/>
                    </a:p>
                  </a:txBody>
                  <a:tcPr/>
                </a:tc>
                <a:tc>
                  <a:txBody>
                    <a:bodyPr/>
                    <a:lstStyle/>
                    <a:p>
                      <a:endParaRPr lang="en-GB" sz="1000" dirty="0"/>
                    </a:p>
                  </a:txBody>
                  <a:tcPr/>
                </a:tc>
                <a:extLst>
                  <a:ext uri="{0D108BD9-81ED-4DB2-BD59-A6C34878D82A}">
                    <a16:rowId xmlns:a16="http://schemas.microsoft.com/office/drawing/2014/main" val="1908652170"/>
                  </a:ext>
                </a:extLst>
              </a:tr>
              <a:tr h="300035">
                <a:tc>
                  <a:txBody>
                    <a:bodyPr/>
                    <a:lstStyle/>
                    <a:p>
                      <a:pPr algn="r"/>
                      <a:r>
                        <a:rPr lang="en-GB" sz="1000" dirty="0"/>
                        <a:t>Code J</a:t>
                      </a:r>
                    </a:p>
                  </a:txBody>
                  <a:tcPr/>
                </a:tc>
                <a:tc>
                  <a:txBody>
                    <a:bodyPr/>
                    <a:lstStyle/>
                    <a:p>
                      <a:endParaRPr lang="en-GB" sz="1000"/>
                    </a:p>
                  </a:txBody>
                  <a:tcPr/>
                </a:tc>
                <a:tc>
                  <a:txBody>
                    <a:bodyPr/>
                    <a:lstStyle/>
                    <a:p>
                      <a:endParaRPr lang="en-GB" sz="1000" dirty="0"/>
                    </a:p>
                  </a:txBody>
                  <a:tcPr/>
                </a:tc>
                <a:extLst>
                  <a:ext uri="{0D108BD9-81ED-4DB2-BD59-A6C34878D82A}">
                    <a16:rowId xmlns:a16="http://schemas.microsoft.com/office/drawing/2014/main" val="3259755384"/>
                  </a:ext>
                </a:extLst>
              </a:tr>
              <a:tr h="300035">
                <a:tc>
                  <a:txBody>
                    <a:bodyPr/>
                    <a:lstStyle/>
                    <a:p>
                      <a:r>
                        <a:rPr lang="en-GB" sz="1000" dirty="0"/>
                        <a:t>Sub Totals of 2.0 </a:t>
                      </a:r>
                    </a:p>
                  </a:txBody>
                  <a:tcPr/>
                </a:tc>
                <a:tc>
                  <a:txBody>
                    <a:bodyPr/>
                    <a:lstStyle/>
                    <a:p>
                      <a:endParaRPr lang="en-GB" sz="1000" dirty="0"/>
                    </a:p>
                  </a:txBody>
                  <a:tcPr/>
                </a:tc>
                <a:tc>
                  <a:txBody>
                    <a:bodyPr/>
                    <a:lstStyle/>
                    <a:p>
                      <a:endParaRPr lang="en-GB" sz="1000" dirty="0"/>
                    </a:p>
                  </a:txBody>
                  <a:tcPr/>
                </a:tc>
                <a:extLst>
                  <a:ext uri="{0D108BD9-81ED-4DB2-BD59-A6C34878D82A}">
                    <a16:rowId xmlns:a16="http://schemas.microsoft.com/office/drawing/2014/main" val="144784417"/>
                  </a:ext>
                </a:extLst>
              </a:tr>
              <a:tr h="453374">
                <a:tc>
                  <a:txBody>
                    <a:bodyPr/>
                    <a:lstStyle/>
                    <a:p>
                      <a:pPr algn="ctr"/>
                      <a:r>
                        <a:rPr lang="en-GB" sz="1000" dirty="0"/>
                        <a:t>Guiding Comment</a:t>
                      </a:r>
                    </a:p>
                  </a:txBody>
                  <a:tcPr/>
                </a:tc>
                <a:tc>
                  <a:txBody>
                    <a:bodyPr/>
                    <a:lstStyle/>
                    <a:p>
                      <a:r>
                        <a:rPr lang="en-GB" sz="800" dirty="0"/>
                        <a:t>Estimate the revenue from sale of related products and services and deduct the related costs.</a:t>
                      </a:r>
                    </a:p>
                  </a:txBody>
                  <a:tcPr/>
                </a:tc>
                <a:tc>
                  <a:txBody>
                    <a:bodyPr/>
                    <a:lstStyle/>
                    <a:p>
                      <a:r>
                        <a:rPr lang="en-GB" sz="800" dirty="0"/>
                        <a:t>The actual costs involved become your cost driven activities and are aligned to the master P&amp;L of the Sales division or business </a:t>
                      </a:r>
                    </a:p>
                  </a:txBody>
                  <a:tcPr/>
                </a:tc>
                <a:extLst>
                  <a:ext uri="{0D108BD9-81ED-4DB2-BD59-A6C34878D82A}">
                    <a16:rowId xmlns:a16="http://schemas.microsoft.com/office/drawing/2014/main" val="644491304"/>
                  </a:ext>
                </a:extLst>
              </a:tr>
            </a:tbl>
          </a:graphicData>
        </a:graphic>
      </p:graphicFrame>
      <p:sp>
        <p:nvSpPr>
          <p:cNvPr id="5" name="TextBox 4">
            <a:extLst>
              <a:ext uri="{FF2B5EF4-FFF2-40B4-BE49-F238E27FC236}">
                <a16:creationId xmlns:a16="http://schemas.microsoft.com/office/drawing/2014/main" id="{1984F04B-0CA4-C0A0-9EB6-000254984034}"/>
              </a:ext>
            </a:extLst>
          </p:cNvPr>
          <p:cNvSpPr txBox="1"/>
          <p:nvPr/>
        </p:nvSpPr>
        <p:spPr>
          <a:xfrm>
            <a:off x="1790315" y="5646891"/>
            <a:ext cx="8517833" cy="746358"/>
          </a:xfrm>
          <a:prstGeom prst="rect">
            <a:avLst/>
          </a:prstGeom>
          <a:solidFill>
            <a:schemeClr val="accent3">
              <a:lumMod val="40000"/>
              <a:lumOff val="60000"/>
            </a:schemeClr>
          </a:solidFill>
        </p:spPr>
        <p:txBody>
          <a:bodyPr wrap="square">
            <a:spAutoFit/>
          </a:bodyPr>
          <a:lstStyle/>
          <a:p>
            <a:pPr algn="l"/>
            <a:r>
              <a:rPr lang="en-GB" sz="1050" b="1" i="0" dirty="0">
                <a:effectLst/>
                <a:latin typeface="Söhne"/>
              </a:rPr>
              <a:t>Financials </a:t>
            </a:r>
            <a:endParaRPr lang="en-GB" sz="1050" b="0" i="0" dirty="0">
              <a:solidFill>
                <a:srgbClr val="374151"/>
              </a:solidFill>
              <a:effectLst/>
              <a:latin typeface="Söhne"/>
            </a:endParaRPr>
          </a:p>
          <a:p>
            <a:pPr algn="l">
              <a:buFont typeface="Arial" panose="020B0604020202020204" pitchFamily="34" charset="0"/>
              <a:buChar char="•"/>
            </a:pPr>
            <a:r>
              <a:rPr lang="en-GB" sz="800" b="0" i="1" dirty="0">
                <a:solidFill>
                  <a:srgbClr val="374151"/>
                </a:solidFill>
                <a:effectLst/>
                <a:latin typeface="Lato Long"/>
              </a:rPr>
              <a:t> In most companies the P&amp;L remains the point of reference for all discussions and engagement as the data contained is free from any form of manual inputs</a:t>
            </a:r>
          </a:p>
          <a:p>
            <a:pPr algn="l">
              <a:buFont typeface="Arial" panose="020B0604020202020204" pitchFamily="34" charset="0"/>
              <a:buChar char="•"/>
            </a:pPr>
            <a:r>
              <a:rPr lang="en-GB" sz="800" i="1" dirty="0">
                <a:solidFill>
                  <a:srgbClr val="374151"/>
                </a:solidFill>
                <a:latin typeface="Lato Long"/>
              </a:rPr>
              <a:t> In the case of trade marketing the financial is usually cost centre driven as the top line is aligned to sales and covers all products and all businesses along with all customers and channels.</a:t>
            </a:r>
          </a:p>
          <a:p>
            <a:pPr algn="l">
              <a:buFont typeface="Arial" panose="020B0604020202020204" pitchFamily="34" charset="0"/>
              <a:buChar char="•"/>
            </a:pPr>
            <a:r>
              <a:rPr lang="en-GB" sz="800" i="1" dirty="0">
                <a:solidFill>
                  <a:srgbClr val="374151"/>
                </a:solidFill>
                <a:latin typeface="Lato Long"/>
              </a:rPr>
              <a:t> View B is the way most companies will align TM as the audit centric way is to treat TM as a cost centre </a:t>
            </a:r>
          </a:p>
          <a:p>
            <a:pPr algn="l">
              <a:buFont typeface="Arial" panose="020B0604020202020204" pitchFamily="34" charset="0"/>
              <a:buChar char="•"/>
            </a:pPr>
            <a:r>
              <a:rPr lang="en-GB" sz="800" i="1" dirty="0">
                <a:solidFill>
                  <a:srgbClr val="374151"/>
                </a:solidFill>
                <a:latin typeface="Lato Long"/>
              </a:rPr>
              <a:t>View A could be interpreted as an internal exercise purely to review performance and other criteria the business may want to evaluate.</a:t>
            </a:r>
            <a:endParaRPr lang="en-GB" sz="1050" b="0" i="0" dirty="0">
              <a:solidFill>
                <a:srgbClr val="374151"/>
              </a:solidFill>
              <a:effectLst/>
              <a:latin typeface="Söhne"/>
            </a:endParaRPr>
          </a:p>
        </p:txBody>
      </p:sp>
    </p:spTree>
    <p:extLst>
      <p:ext uri="{BB962C8B-B14F-4D97-AF65-F5344CB8AC3E}">
        <p14:creationId xmlns:p14="http://schemas.microsoft.com/office/powerpoint/2010/main" val="4572436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74F001-FFD3-BC29-F928-2438D3530DC3}"/>
              </a:ext>
            </a:extLst>
          </p:cNvPr>
          <p:cNvSpPr txBox="1"/>
          <p:nvPr/>
        </p:nvSpPr>
        <p:spPr>
          <a:xfrm>
            <a:off x="3085536" y="2990944"/>
            <a:ext cx="591882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ROI</a:t>
            </a:r>
          </a:p>
        </p:txBody>
      </p:sp>
    </p:spTree>
    <p:extLst>
      <p:ext uri="{BB962C8B-B14F-4D97-AF65-F5344CB8AC3E}">
        <p14:creationId xmlns:p14="http://schemas.microsoft.com/office/powerpoint/2010/main" val="6991315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reeform 25">
            <a:extLst>
              <a:ext uri="{FF2B5EF4-FFF2-40B4-BE49-F238E27FC236}">
                <a16:creationId xmlns:a16="http://schemas.microsoft.com/office/drawing/2014/main" id="{CC9001B5-7791-074D-9C6D-E98D7CBB357B}"/>
              </a:ext>
            </a:extLst>
          </p:cNvPr>
          <p:cNvSpPr>
            <a:spLocks noChangeArrowheads="1"/>
          </p:cNvSpPr>
          <p:nvPr/>
        </p:nvSpPr>
        <p:spPr bwMode="auto">
          <a:xfrm>
            <a:off x="5601134" y="3028733"/>
            <a:ext cx="541448" cy="1747546"/>
          </a:xfrm>
          <a:custGeom>
            <a:avLst/>
            <a:gdLst>
              <a:gd name="connsiteX0" fmla="*/ 163732 w 1082895"/>
              <a:gd name="connsiteY0" fmla="*/ 0 h 3495092"/>
              <a:gd name="connsiteX1" fmla="*/ 169734 w 1082895"/>
              <a:gd name="connsiteY1" fmla="*/ 17521 h 3495092"/>
              <a:gd name="connsiteX2" fmla="*/ 213381 w 1082895"/>
              <a:gd name="connsiteY2" fmla="*/ 99075 h 3495092"/>
              <a:gd name="connsiteX3" fmla="*/ 901283 w 1082895"/>
              <a:gd name="connsiteY3" fmla="*/ 787421 h 3495092"/>
              <a:gd name="connsiteX4" fmla="*/ 1082895 w 1082895"/>
              <a:gd name="connsiteY4" fmla="*/ 1226291 h 3495092"/>
              <a:gd name="connsiteX5" fmla="*/ 1082895 w 1082895"/>
              <a:gd name="connsiteY5" fmla="*/ 3495092 h 3495092"/>
              <a:gd name="connsiteX6" fmla="*/ 916309 w 1082895"/>
              <a:gd name="connsiteY6" fmla="*/ 3495092 h 3495092"/>
              <a:gd name="connsiteX7" fmla="*/ 916309 w 1082895"/>
              <a:gd name="connsiteY7" fmla="*/ 1226291 h 3495092"/>
              <a:gd name="connsiteX8" fmla="*/ 784347 w 1082895"/>
              <a:gd name="connsiteY8" fmla="*/ 904976 h 3495092"/>
              <a:gd name="connsiteX9" fmla="*/ 65740 w 1082895"/>
              <a:gd name="connsiteY9" fmla="*/ 186587 h 3495092"/>
              <a:gd name="connsiteX10" fmla="*/ 0 w 1082895"/>
              <a:gd name="connsiteY10" fmla="*/ 151594 h 3495092"/>
              <a:gd name="connsiteX11" fmla="*/ 4589 w 1082895"/>
              <a:gd name="connsiteY11" fmla="*/ 149103 h 3495092"/>
              <a:gd name="connsiteX12" fmla="*/ 117733 w 1082895"/>
              <a:gd name="connsiteY12" fmla="*/ 55751 h 349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2895" h="3495092">
                <a:moveTo>
                  <a:pt x="163732" y="0"/>
                </a:moveTo>
                <a:lnTo>
                  <a:pt x="169734" y="17521"/>
                </a:lnTo>
                <a:cubicBezTo>
                  <a:pt x="182759" y="46828"/>
                  <a:pt x="197702" y="74094"/>
                  <a:pt x="213381" y="99075"/>
                </a:cubicBezTo>
                <a:lnTo>
                  <a:pt x="901283" y="787421"/>
                </a:lnTo>
                <a:cubicBezTo>
                  <a:pt x="1018220" y="904323"/>
                  <a:pt x="1082895" y="1060409"/>
                  <a:pt x="1082895" y="1226291"/>
                </a:cubicBezTo>
                <a:lnTo>
                  <a:pt x="1082895" y="3495092"/>
                </a:lnTo>
                <a:lnTo>
                  <a:pt x="916309" y="3495092"/>
                </a:lnTo>
                <a:lnTo>
                  <a:pt x="916309" y="1226291"/>
                </a:lnTo>
                <a:cubicBezTo>
                  <a:pt x="916309" y="1104165"/>
                  <a:pt x="869926" y="990529"/>
                  <a:pt x="784347" y="904976"/>
                </a:cubicBezTo>
                <a:lnTo>
                  <a:pt x="65740" y="186587"/>
                </a:lnTo>
                <a:lnTo>
                  <a:pt x="0" y="151594"/>
                </a:lnTo>
                <a:lnTo>
                  <a:pt x="4589" y="149103"/>
                </a:lnTo>
                <a:cubicBezTo>
                  <a:pt x="45261" y="121626"/>
                  <a:pt x="83146" y="90338"/>
                  <a:pt x="117733" y="55751"/>
                </a:cubicBezTo>
                <a:close/>
              </a:path>
            </a:pathLst>
          </a:custGeom>
          <a:solidFill>
            <a:srgbClr val="DB5000"/>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24" name="Freeform 23">
            <a:extLst>
              <a:ext uri="{FF2B5EF4-FFF2-40B4-BE49-F238E27FC236}">
                <a16:creationId xmlns:a16="http://schemas.microsoft.com/office/drawing/2014/main" id="{40B1227C-03FE-CB4F-9E82-A70B28FF361D}"/>
              </a:ext>
            </a:extLst>
          </p:cNvPr>
          <p:cNvSpPr>
            <a:spLocks noChangeArrowheads="1"/>
          </p:cNvSpPr>
          <p:nvPr/>
        </p:nvSpPr>
        <p:spPr bwMode="auto">
          <a:xfrm>
            <a:off x="2914089" y="1068217"/>
            <a:ext cx="2264852" cy="1532631"/>
          </a:xfrm>
          <a:custGeom>
            <a:avLst/>
            <a:gdLst>
              <a:gd name="connsiteX0" fmla="*/ 276884 w 4529703"/>
              <a:gd name="connsiteY0" fmla="*/ 0 h 3065261"/>
              <a:gd name="connsiteX1" fmla="*/ 3183515 w 4529703"/>
              <a:gd name="connsiteY1" fmla="*/ 0 h 3065261"/>
              <a:gd name="connsiteX2" fmla="*/ 4291052 w 4529703"/>
              <a:gd name="connsiteY2" fmla="*/ 1107371 h 3065261"/>
              <a:gd name="connsiteX3" fmla="*/ 4291052 w 4529703"/>
              <a:gd name="connsiteY3" fmla="*/ 2374805 h 3065261"/>
              <a:gd name="connsiteX4" fmla="*/ 4479072 w 4529703"/>
              <a:gd name="connsiteY4" fmla="*/ 2766979 h 3065261"/>
              <a:gd name="connsiteX5" fmla="*/ 4529703 w 4529703"/>
              <a:gd name="connsiteY5" fmla="*/ 2799066 h 3065261"/>
              <a:gd name="connsiteX6" fmla="*/ 4523803 w 4529703"/>
              <a:gd name="connsiteY6" fmla="*/ 2802268 h 3065261"/>
              <a:gd name="connsiteX7" fmla="*/ 4317307 w 4529703"/>
              <a:gd name="connsiteY7" fmla="*/ 3008764 h 3065261"/>
              <a:gd name="connsiteX8" fmla="*/ 4286642 w 4529703"/>
              <a:gd name="connsiteY8" fmla="*/ 3065261 h 3065261"/>
              <a:gd name="connsiteX9" fmla="*/ 4257294 w 4529703"/>
              <a:gd name="connsiteY9" fmla="*/ 3014625 h 3065261"/>
              <a:gd name="connsiteX10" fmla="*/ 3914255 w 4529703"/>
              <a:gd name="connsiteY10" fmla="*/ 2847152 h 3065261"/>
              <a:gd name="connsiteX11" fmla="*/ 1107537 w 4529703"/>
              <a:gd name="connsiteY11" fmla="*/ 2847152 h 3065261"/>
              <a:gd name="connsiteX12" fmla="*/ 0 w 4529703"/>
              <a:gd name="connsiteY12" fmla="*/ 1739128 h 3065261"/>
              <a:gd name="connsiteX13" fmla="*/ 0 w 4529703"/>
              <a:gd name="connsiteY13" fmla="*/ 277006 h 3065261"/>
              <a:gd name="connsiteX14" fmla="*/ 276884 w 4529703"/>
              <a:gd name="connsiteY14" fmla="*/ 0 h 3065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29703" h="3065261">
                <a:moveTo>
                  <a:pt x="276884" y="0"/>
                </a:moveTo>
                <a:lnTo>
                  <a:pt x="3183515" y="0"/>
                </a:lnTo>
                <a:cubicBezTo>
                  <a:pt x="3794750" y="0"/>
                  <a:pt x="4291052" y="495867"/>
                  <a:pt x="4291052" y="1107371"/>
                </a:cubicBezTo>
                <a:lnTo>
                  <a:pt x="4291052" y="2374805"/>
                </a:lnTo>
                <a:cubicBezTo>
                  <a:pt x="4300848" y="2449119"/>
                  <a:pt x="4339978" y="2647207"/>
                  <a:pt x="4479072" y="2766979"/>
                </a:cubicBezTo>
                <a:lnTo>
                  <a:pt x="4529703" y="2799066"/>
                </a:lnTo>
                <a:lnTo>
                  <a:pt x="4523803" y="2802268"/>
                </a:lnTo>
                <a:cubicBezTo>
                  <a:pt x="4442460" y="2857223"/>
                  <a:pt x="4372261" y="2927421"/>
                  <a:pt x="4317307" y="3008764"/>
                </a:cubicBezTo>
                <a:lnTo>
                  <a:pt x="4286642" y="3065261"/>
                </a:lnTo>
                <a:lnTo>
                  <a:pt x="4257294" y="3014625"/>
                </a:lnTo>
                <a:cubicBezTo>
                  <a:pt x="4191711" y="2926622"/>
                  <a:pt x="4085675" y="2854502"/>
                  <a:pt x="3914255" y="2847152"/>
                </a:cubicBezTo>
                <a:lnTo>
                  <a:pt x="1107537" y="2847152"/>
                </a:lnTo>
                <a:cubicBezTo>
                  <a:pt x="496302" y="2847152"/>
                  <a:pt x="0" y="2350632"/>
                  <a:pt x="0" y="1739128"/>
                </a:cubicBezTo>
                <a:lnTo>
                  <a:pt x="0" y="277006"/>
                </a:lnTo>
                <a:cubicBezTo>
                  <a:pt x="0" y="123477"/>
                  <a:pt x="124076" y="0"/>
                  <a:pt x="276884" y="0"/>
                </a:cubicBezTo>
                <a:close/>
              </a:path>
            </a:pathLst>
          </a:custGeom>
          <a:solidFill>
            <a:srgbClr val="DB5000"/>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4" name="Freeform 75">
            <a:extLst>
              <a:ext uri="{FF2B5EF4-FFF2-40B4-BE49-F238E27FC236}">
                <a16:creationId xmlns:a16="http://schemas.microsoft.com/office/drawing/2014/main" id="{D49C1EC9-551B-7647-8DE3-45078C084A15}"/>
              </a:ext>
            </a:extLst>
          </p:cNvPr>
          <p:cNvSpPr>
            <a:spLocks noChangeArrowheads="1"/>
          </p:cNvSpPr>
          <p:nvPr/>
        </p:nvSpPr>
        <p:spPr bwMode="auto">
          <a:xfrm>
            <a:off x="5094478" y="2491086"/>
            <a:ext cx="590462" cy="590462"/>
          </a:xfrm>
          <a:custGeom>
            <a:avLst/>
            <a:gdLst>
              <a:gd name="T0" fmla="*/ 1809 w 1810"/>
              <a:gd name="T1" fmla="*/ 903 h 1809"/>
              <a:gd name="T2" fmla="*/ 1809 w 1810"/>
              <a:gd name="T3" fmla="*/ 903 h 1809"/>
              <a:gd name="T4" fmla="*/ 1759 w 1810"/>
              <a:gd name="T5" fmla="*/ 1201 h 1809"/>
              <a:gd name="T6" fmla="*/ 1759 w 1810"/>
              <a:gd name="T7" fmla="*/ 1201 h 1809"/>
              <a:gd name="T8" fmla="*/ 1152 w 1810"/>
              <a:gd name="T9" fmla="*/ 1774 h 1809"/>
              <a:gd name="T10" fmla="*/ 1152 w 1810"/>
              <a:gd name="T11" fmla="*/ 1774 h 1809"/>
              <a:gd name="T12" fmla="*/ 905 w 1810"/>
              <a:gd name="T13" fmla="*/ 1808 h 1809"/>
              <a:gd name="T14" fmla="*/ 905 w 1810"/>
              <a:gd name="T15" fmla="*/ 1808 h 1809"/>
              <a:gd name="T16" fmla="*/ 0 w 1810"/>
              <a:gd name="T17" fmla="*/ 903 h 1809"/>
              <a:gd name="T18" fmla="*/ 0 w 1810"/>
              <a:gd name="T19" fmla="*/ 903 h 1809"/>
              <a:gd name="T20" fmla="*/ 9 w 1810"/>
              <a:gd name="T21" fmla="*/ 786 h 1809"/>
              <a:gd name="T22" fmla="*/ 9 w 1810"/>
              <a:gd name="T23" fmla="*/ 786 h 1809"/>
              <a:gd name="T24" fmla="*/ 757 w 1810"/>
              <a:gd name="T25" fmla="*/ 12 h 1809"/>
              <a:gd name="T26" fmla="*/ 757 w 1810"/>
              <a:gd name="T27" fmla="*/ 12 h 1809"/>
              <a:gd name="T28" fmla="*/ 905 w 1810"/>
              <a:gd name="T29" fmla="*/ 0 h 1809"/>
              <a:gd name="T30" fmla="*/ 905 w 1810"/>
              <a:gd name="T31" fmla="*/ 0 h 1809"/>
              <a:gd name="T32" fmla="*/ 1809 w 1810"/>
              <a:gd name="T33" fmla="*/ 903 h 1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0" h="1809">
                <a:moveTo>
                  <a:pt x="1809" y="903"/>
                </a:moveTo>
                <a:lnTo>
                  <a:pt x="1809" y="903"/>
                </a:lnTo>
                <a:cubicBezTo>
                  <a:pt x="1809" y="1008"/>
                  <a:pt x="1792" y="1108"/>
                  <a:pt x="1759" y="1201"/>
                </a:cubicBezTo>
                <a:lnTo>
                  <a:pt x="1759" y="1201"/>
                </a:lnTo>
                <a:cubicBezTo>
                  <a:pt x="1663" y="1477"/>
                  <a:pt x="1436" y="1693"/>
                  <a:pt x="1152" y="1774"/>
                </a:cubicBezTo>
                <a:lnTo>
                  <a:pt x="1152" y="1774"/>
                </a:lnTo>
                <a:cubicBezTo>
                  <a:pt x="1073" y="1796"/>
                  <a:pt x="991" y="1808"/>
                  <a:pt x="905" y="1808"/>
                </a:cubicBezTo>
                <a:lnTo>
                  <a:pt x="905" y="1808"/>
                </a:lnTo>
                <a:cubicBezTo>
                  <a:pt x="406" y="1808"/>
                  <a:pt x="0" y="1404"/>
                  <a:pt x="0" y="903"/>
                </a:cubicBezTo>
                <a:lnTo>
                  <a:pt x="0" y="903"/>
                </a:lnTo>
                <a:cubicBezTo>
                  <a:pt x="0" y="864"/>
                  <a:pt x="3" y="824"/>
                  <a:pt x="9" y="786"/>
                </a:cubicBezTo>
                <a:lnTo>
                  <a:pt x="9" y="786"/>
                </a:lnTo>
                <a:cubicBezTo>
                  <a:pt x="60" y="390"/>
                  <a:pt x="366" y="76"/>
                  <a:pt x="757" y="12"/>
                </a:cubicBezTo>
                <a:lnTo>
                  <a:pt x="757" y="12"/>
                </a:lnTo>
                <a:cubicBezTo>
                  <a:pt x="806" y="4"/>
                  <a:pt x="855" y="0"/>
                  <a:pt x="905" y="0"/>
                </a:cubicBezTo>
                <a:lnTo>
                  <a:pt x="905" y="0"/>
                </a:lnTo>
                <a:cubicBezTo>
                  <a:pt x="1404" y="0"/>
                  <a:pt x="1809" y="404"/>
                  <a:pt x="1809" y="903"/>
                </a:cubicBezTo>
              </a:path>
            </a:pathLst>
          </a:custGeom>
          <a:solidFill>
            <a:srgbClr val="DB5000"/>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5" name="Freeform 78">
            <a:extLst>
              <a:ext uri="{FF2B5EF4-FFF2-40B4-BE49-F238E27FC236}">
                <a16:creationId xmlns:a16="http://schemas.microsoft.com/office/drawing/2014/main" id="{2E3FD328-64E4-A042-B248-A16AE5B86D94}"/>
              </a:ext>
            </a:extLst>
          </p:cNvPr>
          <p:cNvSpPr>
            <a:spLocks noChangeArrowheads="1"/>
          </p:cNvSpPr>
          <p:nvPr/>
        </p:nvSpPr>
        <p:spPr bwMode="auto">
          <a:xfrm>
            <a:off x="3187301" y="1456002"/>
            <a:ext cx="1244291" cy="36004"/>
          </a:xfrm>
          <a:custGeom>
            <a:avLst/>
            <a:gdLst>
              <a:gd name="T0" fmla="*/ 3755 w 3810"/>
              <a:gd name="T1" fmla="*/ 110 h 111"/>
              <a:gd name="T2" fmla="*/ 55 w 3810"/>
              <a:gd name="T3" fmla="*/ 110 h 111"/>
              <a:gd name="T4" fmla="*/ 55 w 3810"/>
              <a:gd name="T5" fmla="*/ 110 h 111"/>
              <a:gd name="T6" fmla="*/ 0 w 3810"/>
              <a:gd name="T7" fmla="*/ 55 h 111"/>
              <a:gd name="T8" fmla="*/ 0 w 3810"/>
              <a:gd name="T9" fmla="*/ 55 h 111"/>
              <a:gd name="T10" fmla="*/ 55 w 3810"/>
              <a:gd name="T11" fmla="*/ 0 h 111"/>
              <a:gd name="T12" fmla="*/ 3755 w 3810"/>
              <a:gd name="T13" fmla="*/ 0 h 111"/>
              <a:gd name="T14" fmla="*/ 3755 w 3810"/>
              <a:gd name="T15" fmla="*/ 0 h 111"/>
              <a:gd name="T16" fmla="*/ 3809 w 3810"/>
              <a:gd name="T17" fmla="*/ 55 h 111"/>
              <a:gd name="T18" fmla="*/ 3809 w 3810"/>
              <a:gd name="T19" fmla="*/ 55 h 111"/>
              <a:gd name="T20" fmla="*/ 3755 w 3810"/>
              <a:gd name="T21" fmla="*/ 11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10" h="111">
                <a:moveTo>
                  <a:pt x="3755" y="110"/>
                </a:moveTo>
                <a:lnTo>
                  <a:pt x="55" y="110"/>
                </a:lnTo>
                <a:lnTo>
                  <a:pt x="55" y="110"/>
                </a:lnTo>
                <a:cubicBezTo>
                  <a:pt x="25" y="110"/>
                  <a:pt x="0" y="85"/>
                  <a:pt x="0" y="55"/>
                </a:cubicBezTo>
                <a:lnTo>
                  <a:pt x="0" y="55"/>
                </a:lnTo>
                <a:cubicBezTo>
                  <a:pt x="0" y="24"/>
                  <a:pt x="25" y="0"/>
                  <a:pt x="55" y="0"/>
                </a:cubicBezTo>
                <a:lnTo>
                  <a:pt x="3755" y="0"/>
                </a:lnTo>
                <a:lnTo>
                  <a:pt x="3755" y="0"/>
                </a:lnTo>
                <a:cubicBezTo>
                  <a:pt x="3786" y="0"/>
                  <a:pt x="3809" y="24"/>
                  <a:pt x="3809" y="55"/>
                </a:cubicBezTo>
                <a:lnTo>
                  <a:pt x="3809" y="55"/>
                </a:lnTo>
                <a:cubicBezTo>
                  <a:pt x="3809" y="85"/>
                  <a:pt x="3786" y="110"/>
                  <a:pt x="3755" y="11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266"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40" name="Freeform 39">
            <a:extLst>
              <a:ext uri="{FF2B5EF4-FFF2-40B4-BE49-F238E27FC236}">
                <a16:creationId xmlns:a16="http://schemas.microsoft.com/office/drawing/2014/main" id="{FFC9BEE5-1D1B-A042-AEC6-593C27057AC4}"/>
              </a:ext>
            </a:extLst>
          </p:cNvPr>
          <p:cNvSpPr>
            <a:spLocks noChangeArrowheads="1"/>
          </p:cNvSpPr>
          <p:nvPr/>
        </p:nvSpPr>
        <p:spPr bwMode="auto">
          <a:xfrm>
            <a:off x="6059379" y="3847160"/>
            <a:ext cx="543427" cy="1744245"/>
          </a:xfrm>
          <a:custGeom>
            <a:avLst/>
            <a:gdLst>
              <a:gd name="connsiteX0" fmla="*/ 921034 w 1086853"/>
              <a:gd name="connsiteY0" fmla="*/ 0 h 3488490"/>
              <a:gd name="connsiteX1" fmla="*/ 965817 w 1086853"/>
              <a:gd name="connsiteY1" fmla="*/ 54278 h 3488490"/>
              <a:gd name="connsiteX2" fmla="*/ 1078961 w 1086853"/>
              <a:gd name="connsiteY2" fmla="*/ 147630 h 3488490"/>
              <a:gd name="connsiteX3" fmla="*/ 1086853 w 1086853"/>
              <a:gd name="connsiteY3" fmla="*/ 151914 h 3488490"/>
              <a:gd name="connsiteX4" fmla="*/ 1017809 w 1086853"/>
              <a:gd name="connsiteY4" fmla="*/ 188691 h 3488490"/>
              <a:gd name="connsiteX5" fmla="*/ 299202 w 1086853"/>
              <a:gd name="connsiteY5" fmla="*/ 905868 h 3488490"/>
              <a:gd name="connsiteX6" fmla="*/ 166586 w 1086853"/>
              <a:gd name="connsiteY6" fmla="*/ 1227226 h 3488490"/>
              <a:gd name="connsiteX7" fmla="*/ 166586 w 1086853"/>
              <a:gd name="connsiteY7" fmla="*/ 3488490 h 3488490"/>
              <a:gd name="connsiteX8" fmla="*/ 0 w 1086853"/>
              <a:gd name="connsiteY8" fmla="*/ 3488490 h 3488490"/>
              <a:gd name="connsiteX9" fmla="*/ 0 w 1086853"/>
              <a:gd name="connsiteY9" fmla="*/ 1227226 h 3488490"/>
              <a:gd name="connsiteX10" fmla="*/ 182265 w 1086853"/>
              <a:gd name="connsiteY10" fmla="*/ 788951 h 3488490"/>
              <a:gd name="connsiteX11" fmla="*/ 870821 w 1086853"/>
              <a:gd name="connsiteY11" fmla="*/ 101167 h 3488490"/>
              <a:gd name="connsiteX12" fmla="*/ 914366 w 1086853"/>
              <a:gd name="connsiteY12" fmla="*/ 19603 h 348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6853" h="3488490">
                <a:moveTo>
                  <a:pt x="921034" y="0"/>
                </a:moveTo>
                <a:lnTo>
                  <a:pt x="965817" y="54278"/>
                </a:lnTo>
                <a:cubicBezTo>
                  <a:pt x="1000404" y="88865"/>
                  <a:pt x="1038289" y="120153"/>
                  <a:pt x="1078961" y="147630"/>
                </a:cubicBezTo>
                <a:lnTo>
                  <a:pt x="1086853" y="151914"/>
                </a:lnTo>
                <a:lnTo>
                  <a:pt x="1017809" y="188691"/>
                </a:lnTo>
                <a:lnTo>
                  <a:pt x="299202" y="905868"/>
                </a:lnTo>
                <a:cubicBezTo>
                  <a:pt x="213622" y="992086"/>
                  <a:pt x="166586" y="1105737"/>
                  <a:pt x="166586" y="1227226"/>
                </a:cubicBezTo>
                <a:lnTo>
                  <a:pt x="166586" y="3488490"/>
                </a:lnTo>
                <a:lnTo>
                  <a:pt x="0" y="3488490"/>
                </a:lnTo>
                <a:lnTo>
                  <a:pt x="0" y="1227226"/>
                </a:lnTo>
                <a:cubicBezTo>
                  <a:pt x="0" y="1061322"/>
                  <a:pt x="65328" y="905868"/>
                  <a:pt x="182265" y="788951"/>
                </a:cubicBezTo>
                <a:lnTo>
                  <a:pt x="870821" y="101167"/>
                </a:lnTo>
                <a:cubicBezTo>
                  <a:pt x="886500" y="76183"/>
                  <a:pt x="901403" y="48913"/>
                  <a:pt x="914366" y="19603"/>
                </a:cubicBezTo>
                <a:close/>
              </a:path>
            </a:pathLst>
          </a:custGeom>
          <a:solidFill>
            <a:srgbClr val="DB5000"/>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42" name="Freeform 41">
            <a:extLst>
              <a:ext uri="{FF2B5EF4-FFF2-40B4-BE49-F238E27FC236}">
                <a16:creationId xmlns:a16="http://schemas.microsoft.com/office/drawing/2014/main" id="{5F5C80FC-4704-8843-BC76-CD70E2E54C5A}"/>
              </a:ext>
            </a:extLst>
          </p:cNvPr>
          <p:cNvSpPr>
            <a:spLocks noChangeArrowheads="1"/>
          </p:cNvSpPr>
          <p:nvPr/>
        </p:nvSpPr>
        <p:spPr bwMode="auto">
          <a:xfrm>
            <a:off x="7022868" y="1886222"/>
            <a:ext cx="2145473" cy="1530961"/>
          </a:xfrm>
          <a:custGeom>
            <a:avLst/>
            <a:gdLst>
              <a:gd name="connsiteX0" fmla="*/ 1344579 w 4290945"/>
              <a:gd name="connsiteY0" fmla="*/ 0 h 3061922"/>
              <a:gd name="connsiteX1" fmla="*/ 4014007 w 4290945"/>
              <a:gd name="connsiteY1" fmla="*/ 0 h 3061922"/>
              <a:gd name="connsiteX2" fmla="*/ 4290945 w 4290945"/>
              <a:gd name="connsiteY2" fmla="*/ 277060 h 3061922"/>
              <a:gd name="connsiteX3" fmla="*/ 4290945 w 4290945"/>
              <a:gd name="connsiteY3" fmla="*/ 1738813 h 3061922"/>
              <a:gd name="connsiteX4" fmla="*/ 3183199 w 4290945"/>
              <a:gd name="connsiteY4" fmla="*/ 2847706 h 3061922"/>
              <a:gd name="connsiteX5" fmla="*/ 613049 w 4290945"/>
              <a:gd name="connsiteY5" fmla="*/ 2847706 h 3061922"/>
              <a:gd name="connsiteX6" fmla="*/ 266995 w 4290945"/>
              <a:gd name="connsiteY6" fmla="*/ 3018622 h 3061922"/>
              <a:gd name="connsiteX7" fmla="*/ 242552 w 4290945"/>
              <a:gd name="connsiteY7" fmla="*/ 3061922 h 3061922"/>
              <a:gd name="connsiteX8" fmla="*/ 213356 w 4290945"/>
              <a:gd name="connsiteY8" fmla="*/ 3008133 h 3061922"/>
              <a:gd name="connsiteX9" fmla="*/ 6860 w 4290945"/>
              <a:gd name="connsiteY9" fmla="*/ 2801637 h 3061922"/>
              <a:gd name="connsiteX10" fmla="*/ 0 w 4290945"/>
              <a:gd name="connsiteY10" fmla="*/ 2797914 h 3061922"/>
              <a:gd name="connsiteX11" fmla="*/ 48413 w 4290945"/>
              <a:gd name="connsiteY11" fmla="*/ 2767230 h 3061922"/>
              <a:gd name="connsiteX12" fmla="*/ 236181 w 4290945"/>
              <a:gd name="connsiteY12" fmla="*/ 2375266 h 3061922"/>
              <a:gd name="connsiteX13" fmla="*/ 236181 w 4290945"/>
              <a:gd name="connsiteY13" fmla="*/ 1108240 h 3061922"/>
              <a:gd name="connsiteX14" fmla="*/ 1344579 w 4290945"/>
              <a:gd name="connsiteY14" fmla="*/ 0 h 306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90945" h="3061922">
                <a:moveTo>
                  <a:pt x="1344579" y="0"/>
                </a:moveTo>
                <a:lnTo>
                  <a:pt x="4014007" y="0"/>
                </a:lnTo>
                <a:cubicBezTo>
                  <a:pt x="4167499" y="0"/>
                  <a:pt x="4290945" y="123501"/>
                  <a:pt x="4290945" y="277060"/>
                </a:cubicBezTo>
                <a:lnTo>
                  <a:pt x="4290945" y="1738813"/>
                </a:lnTo>
                <a:cubicBezTo>
                  <a:pt x="4290945" y="2351089"/>
                  <a:pt x="3795201" y="2847706"/>
                  <a:pt x="3183199" y="2847706"/>
                </a:cubicBezTo>
                <a:lnTo>
                  <a:pt x="613049" y="2847706"/>
                </a:lnTo>
                <a:cubicBezTo>
                  <a:pt x="438903" y="2855057"/>
                  <a:pt x="332266" y="2929029"/>
                  <a:pt x="266995" y="3018622"/>
                </a:cubicBezTo>
                <a:lnTo>
                  <a:pt x="242552" y="3061922"/>
                </a:lnTo>
                <a:lnTo>
                  <a:pt x="213356" y="3008133"/>
                </a:lnTo>
                <a:cubicBezTo>
                  <a:pt x="158402" y="2926790"/>
                  <a:pt x="88203" y="2856592"/>
                  <a:pt x="6860" y="2801637"/>
                </a:cubicBezTo>
                <a:lnTo>
                  <a:pt x="0" y="2797914"/>
                </a:lnTo>
                <a:lnTo>
                  <a:pt x="48413" y="2767230"/>
                </a:lnTo>
                <a:cubicBezTo>
                  <a:pt x="187501" y="2647466"/>
                  <a:pt x="226384" y="2449596"/>
                  <a:pt x="236181" y="2375266"/>
                </a:cubicBezTo>
                <a:lnTo>
                  <a:pt x="236181" y="1108240"/>
                </a:lnTo>
                <a:cubicBezTo>
                  <a:pt x="236181" y="495964"/>
                  <a:pt x="732576" y="0"/>
                  <a:pt x="1344579" y="0"/>
                </a:cubicBezTo>
                <a:close/>
              </a:path>
            </a:pathLst>
          </a:custGeom>
          <a:solidFill>
            <a:srgbClr val="DB5000"/>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8" name="Freeform 230">
            <a:extLst>
              <a:ext uri="{FF2B5EF4-FFF2-40B4-BE49-F238E27FC236}">
                <a16:creationId xmlns:a16="http://schemas.microsoft.com/office/drawing/2014/main" id="{1BE545F3-F639-2B42-8CFC-0E21290912C6}"/>
              </a:ext>
            </a:extLst>
          </p:cNvPr>
          <p:cNvSpPr>
            <a:spLocks noChangeArrowheads="1"/>
          </p:cNvSpPr>
          <p:nvPr/>
        </p:nvSpPr>
        <p:spPr bwMode="auto">
          <a:xfrm>
            <a:off x="6517347" y="3310532"/>
            <a:ext cx="590462" cy="590462"/>
          </a:xfrm>
          <a:custGeom>
            <a:avLst/>
            <a:gdLst>
              <a:gd name="T0" fmla="*/ 1809 w 1810"/>
              <a:gd name="T1" fmla="*/ 904 h 1809"/>
              <a:gd name="T2" fmla="*/ 1809 w 1810"/>
              <a:gd name="T3" fmla="*/ 904 h 1809"/>
              <a:gd name="T4" fmla="*/ 905 w 1810"/>
              <a:gd name="T5" fmla="*/ 1808 h 1809"/>
              <a:gd name="T6" fmla="*/ 905 w 1810"/>
              <a:gd name="T7" fmla="*/ 1808 h 1809"/>
              <a:gd name="T8" fmla="*/ 656 w 1810"/>
              <a:gd name="T9" fmla="*/ 1773 h 1809"/>
              <a:gd name="T10" fmla="*/ 656 w 1810"/>
              <a:gd name="T11" fmla="*/ 1773 h 1809"/>
              <a:gd name="T12" fmla="*/ 51 w 1810"/>
              <a:gd name="T13" fmla="*/ 1201 h 1809"/>
              <a:gd name="T14" fmla="*/ 51 w 1810"/>
              <a:gd name="T15" fmla="*/ 1201 h 1809"/>
              <a:gd name="T16" fmla="*/ 0 w 1810"/>
              <a:gd name="T17" fmla="*/ 904 h 1809"/>
              <a:gd name="T18" fmla="*/ 0 w 1810"/>
              <a:gd name="T19" fmla="*/ 904 h 1809"/>
              <a:gd name="T20" fmla="*/ 905 w 1810"/>
              <a:gd name="T21" fmla="*/ 0 h 1809"/>
              <a:gd name="T22" fmla="*/ 905 w 1810"/>
              <a:gd name="T23" fmla="*/ 0 h 1809"/>
              <a:gd name="T24" fmla="*/ 1051 w 1810"/>
              <a:gd name="T25" fmla="*/ 11 h 1809"/>
              <a:gd name="T26" fmla="*/ 1051 w 1810"/>
              <a:gd name="T27" fmla="*/ 12 h 1809"/>
              <a:gd name="T28" fmla="*/ 1051 w 1810"/>
              <a:gd name="T29" fmla="*/ 12 h 1809"/>
              <a:gd name="T30" fmla="*/ 1801 w 1810"/>
              <a:gd name="T31" fmla="*/ 785 h 1809"/>
              <a:gd name="T32" fmla="*/ 1801 w 1810"/>
              <a:gd name="T33" fmla="*/ 785 h 1809"/>
              <a:gd name="T34" fmla="*/ 1809 w 1810"/>
              <a:gd name="T35" fmla="*/ 904 h 1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10" h="1809">
                <a:moveTo>
                  <a:pt x="1809" y="904"/>
                </a:moveTo>
                <a:lnTo>
                  <a:pt x="1809" y="904"/>
                </a:lnTo>
                <a:cubicBezTo>
                  <a:pt x="1809" y="1403"/>
                  <a:pt x="1404" y="1808"/>
                  <a:pt x="905" y="1808"/>
                </a:cubicBezTo>
                <a:lnTo>
                  <a:pt x="905" y="1808"/>
                </a:lnTo>
                <a:cubicBezTo>
                  <a:pt x="818" y="1808"/>
                  <a:pt x="734" y="1796"/>
                  <a:pt x="656" y="1773"/>
                </a:cubicBezTo>
                <a:lnTo>
                  <a:pt x="656" y="1773"/>
                </a:lnTo>
                <a:cubicBezTo>
                  <a:pt x="373" y="1692"/>
                  <a:pt x="146" y="1477"/>
                  <a:pt x="51" y="1201"/>
                </a:cubicBezTo>
                <a:lnTo>
                  <a:pt x="51" y="1201"/>
                </a:lnTo>
                <a:cubicBezTo>
                  <a:pt x="18" y="1108"/>
                  <a:pt x="0" y="1008"/>
                  <a:pt x="0" y="904"/>
                </a:cubicBezTo>
                <a:lnTo>
                  <a:pt x="0" y="904"/>
                </a:lnTo>
                <a:cubicBezTo>
                  <a:pt x="0" y="404"/>
                  <a:pt x="405" y="0"/>
                  <a:pt x="905" y="0"/>
                </a:cubicBezTo>
                <a:lnTo>
                  <a:pt x="905" y="0"/>
                </a:lnTo>
                <a:cubicBezTo>
                  <a:pt x="954" y="0"/>
                  <a:pt x="1003" y="4"/>
                  <a:pt x="1051" y="11"/>
                </a:cubicBezTo>
                <a:lnTo>
                  <a:pt x="1051" y="12"/>
                </a:lnTo>
                <a:lnTo>
                  <a:pt x="1051" y="12"/>
                </a:lnTo>
                <a:cubicBezTo>
                  <a:pt x="1442" y="75"/>
                  <a:pt x="1750" y="390"/>
                  <a:pt x="1801" y="785"/>
                </a:cubicBezTo>
                <a:lnTo>
                  <a:pt x="1801" y="785"/>
                </a:lnTo>
                <a:cubicBezTo>
                  <a:pt x="1806" y="824"/>
                  <a:pt x="1809" y="864"/>
                  <a:pt x="1809" y="904"/>
                </a:cubicBezTo>
              </a:path>
            </a:pathLst>
          </a:custGeom>
          <a:solidFill>
            <a:srgbClr val="DB5000"/>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9" name="Freeform 232">
            <a:extLst>
              <a:ext uri="{FF2B5EF4-FFF2-40B4-BE49-F238E27FC236}">
                <a16:creationId xmlns:a16="http://schemas.microsoft.com/office/drawing/2014/main" id="{FF07E1DA-13D1-FF4E-987E-53FBF14766F0}"/>
              </a:ext>
            </a:extLst>
          </p:cNvPr>
          <p:cNvSpPr>
            <a:spLocks noChangeArrowheads="1"/>
          </p:cNvSpPr>
          <p:nvPr/>
        </p:nvSpPr>
        <p:spPr bwMode="auto">
          <a:xfrm>
            <a:off x="7608866" y="2258634"/>
            <a:ext cx="1244291" cy="36004"/>
          </a:xfrm>
          <a:custGeom>
            <a:avLst/>
            <a:gdLst>
              <a:gd name="T0" fmla="*/ 3756 w 3812"/>
              <a:gd name="T1" fmla="*/ 109 h 110"/>
              <a:gd name="T2" fmla="*/ 55 w 3812"/>
              <a:gd name="T3" fmla="*/ 109 h 110"/>
              <a:gd name="T4" fmla="*/ 55 w 3812"/>
              <a:gd name="T5" fmla="*/ 109 h 110"/>
              <a:gd name="T6" fmla="*/ 0 w 3812"/>
              <a:gd name="T7" fmla="*/ 55 h 110"/>
              <a:gd name="T8" fmla="*/ 0 w 3812"/>
              <a:gd name="T9" fmla="*/ 55 h 110"/>
              <a:gd name="T10" fmla="*/ 55 w 3812"/>
              <a:gd name="T11" fmla="*/ 0 h 110"/>
              <a:gd name="T12" fmla="*/ 3756 w 3812"/>
              <a:gd name="T13" fmla="*/ 0 h 110"/>
              <a:gd name="T14" fmla="*/ 3756 w 3812"/>
              <a:gd name="T15" fmla="*/ 0 h 110"/>
              <a:gd name="T16" fmla="*/ 3811 w 3812"/>
              <a:gd name="T17" fmla="*/ 55 h 110"/>
              <a:gd name="T18" fmla="*/ 3811 w 3812"/>
              <a:gd name="T19" fmla="*/ 55 h 110"/>
              <a:gd name="T20" fmla="*/ 3756 w 3812"/>
              <a:gd name="T21" fmla="*/ 10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12" h="110">
                <a:moveTo>
                  <a:pt x="3756" y="109"/>
                </a:moveTo>
                <a:lnTo>
                  <a:pt x="55" y="109"/>
                </a:lnTo>
                <a:lnTo>
                  <a:pt x="55" y="109"/>
                </a:lnTo>
                <a:cubicBezTo>
                  <a:pt x="25" y="109"/>
                  <a:pt x="0" y="85"/>
                  <a:pt x="0" y="55"/>
                </a:cubicBezTo>
                <a:lnTo>
                  <a:pt x="0" y="55"/>
                </a:lnTo>
                <a:cubicBezTo>
                  <a:pt x="0" y="25"/>
                  <a:pt x="25" y="0"/>
                  <a:pt x="55" y="0"/>
                </a:cubicBezTo>
                <a:lnTo>
                  <a:pt x="3756" y="0"/>
                </a:lnTo>
                <a:lnTo>
                  <a:pt x="3756" y="0"/>
                </a:lnTo>
                <a:cubicBezTo>
                  <a:pt x="3786" y="0"/>
                  <a:pt x="3811" y="25"/>
                  <a:pt x="3811" y="55"/>
                </a:cubicBezTo>
                <a:lnTo>
                  <a:pt x="3811" y="55"/>
                </a:lnTo>
                <a:cubicBezTo>
                  <a:pt x="3811" y="85"/>
                  <a:pt x="3786" y="109"/>
                  <a:pt x="3756" y="10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266"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8" name="Freeform 27">
            <a:extLst>
              <a:ext uri="{FF2B5EF4-FFF2-40B4-BE49-F238E27FC236}">
                <a16:creationId xmlns:a16="http://schemas.microsoft.com/office/drawing/2014/main" id="{5DE18212-575F-624B-A834-2BF014638A8E}"/>
              </a:ext>
            </a:extLst>
          </p:cNvPr>
          <p:cNvSpPr>
            <a:spLocks noChangeArrowheads="1"/>
          </p:cNvSpPr>
          <p:nvPr/>
        </p:nvSpPr>
        <p:spPr bwMode="auto">
          <a:xfrm>
            <a:off x="2914088" y="2629832"/>
            <a:ext cx="2265641" cy="1534126"/>
          </a:xfrm>
          <a:custGeom>
            <a:avLst/>
            <a:gdLst>
              <a:gd name="connsiteX0" fmla="*/ 276884 w 4531282"/>
              <a:gd name="connsiteY0" fmla="*/ 0 h 3068252"/>
              <a:gd name="connsiteX1" fmla="*/ 3183515 w 4531282"/>
              <a:gd name="connsiteY1" fmla="*/ 0 h 3068252"/>
              <a:gd name="connsiteX2" fmla="*/ 4291052 w 4531282"/>
              <a:gd name="connsiteY2" fmla="*/ 1108241 h 3068252"/>
              <a:gd name="connsiteX3" fmla="*/ 4291052 w 4531282"/>
              <a:gd name="connsiteY3" fmla="*/ 2375921 h 3068252"/>
              <a:gd name="connsiteX4" fmla="*/ 4479072 w 4531282"/>
              <a:gd name="connsiteY4" fmla="*/ 2767107 h 3068252"/>
              <a:gd name="connsiteX5" fmla="*/ 4531282 w 4531282"/>
              <a:gd name="connsiteY5" fmla="*/ 2800130 h 3068252"/>
              <a:gd name="connsiteX6" fmla="*/ 4527345 w 4531282"/>
              <a:gd name="connsiteY6" fmla="*/ 2802267 h 3068252"/>
              <a:gd name="connsiteX7" fmla="*/ 4320849 w 4531282"/>
              <a:gd name="connsiteY7" fmla="*/ 3008763 h 3068252"/>
              <a:gd name="connsiteX8" fmla="*/ 4288559 w 4531282"/>
              <a:gd name="connsiteY8" fmla="*/ 3068252 h 3068252"/>
              <a:gd name="connsiteX9" fmla="*/ 4257294 w 4531282"/>
              <a:gd name="connsiteY9" fmla="*/ 3014272 h 3068252"/>
              <a:gd name="connsiteX10" fmla="*/ 3914255 w 4531282"/>
              <a:gd name="connsiteY10" fmla="*/ 2847054 h 3068252"/>
              <a:gd name="connsiteX11" fmla="*/ 1107537 w 4531282"/>
              <a:gd name="connsiteY11" fmla="*/ 2847054 h 3068252"/>
              <a:gd name="connsiteX12" fmla="*/ 0 w 4531282"/>
              <a:gd name="connsiteY12" fmla="*/ 1738814 h 3068252"/>
              <a:gd name="connsiteX13" fmla="*/ 0 w 4531282"/>
              <a:gd name="connsiteY13" fmla="*/ 277060 h 3068252"/>
              <a:gd name="connsiteX14" fmla="*/ 276884 w 4531282"/>
              <a:gd name="connsiteY14" fmla="*/ 0 h 306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31282" h="3068252">
                <a:moveTo>
                  <a:pt x="276884" y="0"/>
                </a:moveTo>
                <a:lnTo>
                  <a:pt x="3183515" y="0"/>
                </a:lnTo>
                <a:cubicBezTo>
                  <a:pt x="3794750" y="0"/>
                  <a:pt x="4291052" y="495964"/>
                  <a:pt x="4291052" y="1108241"/>
                </a:cubicBezTo>
                <a:lnTo>
                  <a:pt x="4291052" y="2375921"/>
                </a:lnTo>
                <a:cubicBezTo>
                  <a:pt x="4300848" y="2449842"/>
                  <a:pt x="4339978" y="2647560"/>
                  <a:pt x="4479072" y="2767107"/>
                </a:cubicBezTo>
                <a:lnTo>
                  <a:pt x="4531282" y="2800130"/>
                </a:lnTo>
                <a:lnTo>
                  <a:pt x="4527345" y="2802267"/>
                </a:lnTo>
                <a:cubicBezTo>
                  <a:pt x="4446002" y="2857222"/>
                  <a:pt x="4375803" y="2927420"/>
                  <a:pt x="4320849" y="3008763"/>
                </a:cubicBezTo>
                <a:lnTo>
                  <a:pt x="4288559" y="3068252"/>
                </a:lnTo>
                <a:lnTo>
                  <a:pt x="4257294" y="3014272"/>
                </a:lnTo>
                <a:cubicBezTo>
                  <a:pt x="4191711" y="2926233"/>
                  <a:pt x="4085675" y="2854161"/>
                  <a:pt x="3914255" y="2847054"/>
                </a:cubicBezTo>
                <a:lnTo>
                  <a:pt x="1107537" y="2847054"/>
                </a:lnTo>
                <a:cubicBezTo>
                  <a:pt x="496302" y="2847054"/>
                  <a:pt x="0" y="2351090"/>
                  <a:pt x="0" y="1738814"/>
                </a:cubicBezTo>
                <a:lnTo>
                  <a:pt x="0" y="277060"/>
                </a:lnTo>
                <a:cubicBezTo>
                  <a:pt x="0" y="124155"/>
                  <a:pt x="124076" y="0"/>
                  <a:pt x="276884" y="0"/>
                </a:cubicBezTo>
                <a:close/>
              </a:path>
            </a:pathLst>
          </a:custGeom>
          <a:solidFill>
            <a:srgbClr val="0091B5"/>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30" name="Freeform 29">
            <a:extLst>
              <a:ext uri="{FF2B5EF4-FFF2-40B4-BE49-F238E27FC236}">
                <a16:creationId xmlns:a16="http://schemas.microsoft.com/office/drawing/2014/main" id="{3129B74E-17B2-7C41-BBD9-215173B79BE3}"/>
              </a:ext>
            </a:extLst>
          </p:cNvPr>
          <p:cNvSpPr>
            <a:spLocks noChangeArrowheads="1"/>
          </p:cNvSpPr>
          <p:nvPr/>
        </p:nvSpPr>
        <p:spPr bwMode="auto">
          <a:xfrm>
            <a:off x="5601002" y="4627735"/>
            <a:ext cx="541579" cy="1747112"/>
          </a:xfrm>
          <a:custGeom>
            <a:avLst/>
            <a:gdLst>
              <a:gd name="connsiteX0" fmla="*/ 164443 w 1083158"/>
              <a:gd name="connsiteY0" fmla="*/ 0 h 3494223"/>
              <a:gd name="connsiteX1" fmla="*/ 169997 w 1083158"/>
              <a:gd name="connsiteY1" fmla="*/ 16231 h 3494223"/>
              <a:gd name="connsiteX2" fmla="*/ 213644 w 1083158"/>
              <a:gd name="connsiteY2" fmla="*/ 98138 h 3494223"/>
              <a:gd name="connsiteX3" fmla="*/ 901546 w 1083158"/>
              <a:gd name="connsiteY3" fmla="*/ 785713 h 3494223"/>
              <a:gd name="connsiteX4" fmla="*/ 1083158 w 1083158"/>
              <a:gd name="connsiteY4" fmla="*/ 1223854 h 3494223"/>
              <a:gd name="connsiteX5" fmla="*/ 1083158 w 1083158"/>
              <a:gd name="connsiteY5" fmla="*/ 3494223 h 3494223"/>
              <a:gd name="connsiteX6" fmla="*/ 916572 w 1083158"/>
              <a:gd name="connsiteY6" fmla="*/ 3494223 h 3494223"/>
              <a:gd name="connsiteX7" fmla="*/ 916572 w 1083158"/>
              <a:gd name="connsiteY7" fmla="*/ 1223854 h 3494223"/>
              <a:gd name="connsiteX8" fmla="*/ 784610 w 1083158"/>
              <a:gd name="connsiteY8" fmla="*/ 903247 h 3494223"/>
              <a:gd name="connsiteX9" fmla="*/ 66003 w 1083158"/>
              <a:gd name="connsiteY9" fmla="*/ 184982 h 3494223"/>
              <a:gd name="connsiteX10" fmla="*/ 0 w 1083158"/>
              <a:gd name="connsiteY10" fmla="*/ 149909 h 3494223"/>
              <a:gd name="connsiteX11" fmla="*/ 8394 w 1083158"/>
              <a:gd name="connsiteY11" fmla="*/ 145353 h 3494223"/>
              <a:gd name="connsiteX12" fmla="*/ 121538 w 1083158"/>
              <a:gd name="connsiteY12" fmla="*/ 52001 h 349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3158" h="3494223">
                <a:moveTo>
                  <a:pt x="164443" y="0"/>
                </a:moveTo>
                <a:lnTo>
                  <a:pt x="169997" y="16231"/>
                </a:lnTo>
                <a:cubicBezTo>
                  <a:pt x="183022" y="45615"/>
                  <a:pt x="197966" y="72999"/>
                  <a:pt x="213644" y="98138"/>
                </a:cubicBezTo>
                <a:lnTo>
                  <a:pt x="901546" y="785713"/>
                </a:lnTo>
                <a:cubicBezTo>
                  <a:pt x="1018483" y="902594"/>
                  <a:pt x="1083158" y="1058653"/>
                  <a:pt x="1083158" y="1223854"/>
                </a:cubicBezTo>
                <a:lnTo>
                  <a:pt x="1083158" y="3494223"/>
                </a:lnTo>
                <a:lnTo>
                  <a:pt x="916572" y="3494223"/>
                </a:lnTo>
                <a:lnTo>
                  <a:pt x="916572" y="1223854"/>
                </a:lnTo>
                <a:cubicBezTo>
                  <a:pt x="916572" y="1103055"/>
                  <a:pt x="870189" y="988786"/>
                  <a:pt x="784610" y="903247"/>
                </a:cubicBezTo>
                <a:lnTo>
                  <a:pt x="66003" y="184982"/>
                </a:lnTo>
                <a:lnTo>
                  <a:pt x="0" y="149909"/>
                </a:lnTo>
                <a:lnTo>
                  <a:pt x="8394" y="145353"/>
                </a:lnTo>
                <a:cubicBezTo>
                  <a:pt x="49066" y="117876"/>
                  <a:pt x="86951" y="86588"/>
                  <a:pt x="121538" y="52001"/>
                </a:cubicBezTo>
                <a:close/>
              </a:path>
            </a:pathLst>
          </a:custGeom>
          <a:solidFill>
            <a:srgbClr val="0091B5"/>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12" name="Freeform 384">
            <a:extLst>
              <a:ext uri="{FF2B5EF4-FFF2-40B4-BE49-F238E27FC236}">
                <a16:creationId xmlns:a16="http://schemas.microsoft.com/office/drawing/2014/main" id="{C0DD5A66-A946-0B43-9333-30B50AC38ECA}"/>
              </a:ext>
            </a:extLst>
          </p:cNvPr>
          <p:cNvSpPr>
            <a:spLocks noChangeArrowheads="1"/>
          </p:cNvSpPr>
          <p:nvPr/>
        </p:nvSpPr>
        <p:spPr bwMode="auto">
          <a:xfrm>
            <a:off x="5094478" y="4088213"/>
            <a:ext cx="590462" cy="590462"/>
          </a:xfrm>
          <a:custGeom>
            <a:avLst/>
            <a:gdLst>
              <a:gd name="T0" fmla="*/ 1809 w 1810"/>
              <a:gd name="T1" fmla="*/ 904 h 1810"/>
              <a:gd name="T2" fmla="*/ 1809 w 1810"/>
              <a:gd name="T3" fmla="*/ 904 h 1810"/>
              <a:gd name="T4" fmla="*/ 1759 w 1810"/>
              <a:gd name="T5" fmla="*/ 1201 h 1810"/>
              <a:gd name="T6" fmla="*/ 1759 w 1810"/>
              <a:gd name="T7" fmla="*/ 1201 h 1810"/>
              <a:gd name="T8" fmla="*/ 1152 w 1810"/>
              <a:gd name="T9" fmla="*/ 1774 h 1810"/>
              <a:gd name="T10" fmla="*/ 1152 w 1810"/>
              <a:gd name="T11" fmla="*/ 1774 h 1810"/>
              <a:gd name="T12" fmla="*/ 905 w 1810"/>
              <a:gd name="T13" fmla="*/ 1809 h 1810"/>
              <a:gd name="T14" fmla="*/ 905 w 1810"/>
              <a:gd name="T15" fmla="*/ 1809 h 1810"/>
              <a:gd name="T16" fmla="*/ 0 w 1810"/>
              <a:gd name="T17" fmla="*/ 904 h 1810"/>
              <a:gd name="T18" fmla="*/ 0 w 1810"/>
              <a:gd name="T19" fmla="*/ 904 h 1810"/>
              <a:gd name="T20" fmla="*/ 9 w 1810"/>
              <a:gd name="T21" fmla="*/ 786 h 1810"/>
              <a:gd name="T22" fmla="*/ 9 w 1810"/>
              <a:gd name="T23" fmla="*/ 786 h 1810"/>
              <a:gd name="T24" fmla="*/ 757 w 1810"/>
              <a:gd name="T25" fmla="*/ 12 h 1810"/>
              <a:gd name="T26" fmla="*/ 757 w 1810"/>
              <a:gd name="T27" fmla="*/ 12 h 1810"/>
              <a:gd name="T28" fmla="*/ 905 w 1810"/>
              <a:gd name="T29" fmla="*/ 0 h 1810"/>
              <a:gd name="T30" fmla="*/ 905 w 1810"/>
              <a:gd name="T31" fmla="*/ 0 h 1810"/>
              <a:gd name="T32" fmla="*/ 1809 w 1810"/>
              <a:gd name="T33" fmla="*/ 904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0" h="1810">
                <a:moveTo>
                  <a:pt x="1809" y="904"/>
                </a:moveTo>
                <a:lnTo>
                  <a:pt x="1809" y="904"/>
                </a:lnTo>
                <a:cubicBezTo>
                  <a:pt x="1809" y="1008"/>
                  <a:pt x="1792" y="1108"/>
                  <a:pt x="1759" y="1201"/>
                </a:cubicBezTo>
                <a:lnTo>
                  <a:pt x="1759" y="1201"/>
                </a:lnTo>
                <a:cubicBezTo>
                  <a:pt x="1663" y="1478"/>
                  <a:pt x="1436" y="1693"/>
                  <a:pt x="1152" y="1774"/>
                </a:cubicBezTo>
                <a:lnTo>
                  <a:pt x="1152" y="1774"/>
                </a:lnTo>
                <a:cubicBezTo>
                  <a:pt x="1073" y="1797"/>
                  <a:pt x="991" y="1809"/>
                  <a:pt x="905" y="1809"/>
                </a:cubicBezTo>
                <a:lnTo>
                  <a:pt x="905" y="1809"/>
                </a:lnTo>
                <a:cubicBezTo>
                  <a:pt x="406" y="1809"/>
                  <a:pt x="0" y="1403"/>
                  <a:pt x="0" y="904"/>
                </a:cubicBezTo>
                <a:lnTo>
                  <a:pt x="0" y="904"/>
                </a:lnTo>
                <a:cubicBezTo>
                  <a:pt x="0" y="863"/>
                  <a:pt x="3" y="824"/>
                  <a:pt x="9" y="786"/>
                </a:cubicBezTo>
                <a:lnTo>
                  <a:pt x="9" y="786"/>
                </a:lnTo>
                <a:cubicBezTo>
                  <a:pt x="60" y="391"/>
                  <a:pt x="366" y="75"/>
                  <a:pt x="757" y="12"/>
                </a:cubicBezTo>
                <a:lnTo>
                  <a:pt x="757" y="12"/>
                </a:lnTo>
                <a:cubicBezTo>
                  <a:pt x="806" y="4"/>
                  <a:pt x="855" y="0"/>
                  <a:pt x="905" y="0"/>
                </a:cubicBezTo>
                <a:lnTo>
                  <a:pt x="905" y="0"/>
                </a:lnTo>
                <a:cubicBezTo>
                  <a:pt x="1404" y="0"/>
                  <a:pt x="1809" y="405"/>
                  <a:pt x="1809" y="904"/>
                </a:cubicBezTo>
              </a:path>
            </a:pathLst>
          </a:custGeom>
          <a:solidFill>
            <a:srgbClr val="0091B5"/>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13" name="Freeform 463">
            <a:extLst>
              <a:ext uri="{FF2B5EF4-FFF2-40B4-BE49-F238E27FC236}">
                <a16:creationId xmlns:a16="http://schemas.microsoft.com/office/drawing/2014/main" id="{8120252B-2093-F34F-92A1-B9E585C8FCCD}"/>
              </a:ext>
            </a:extLst>
          </p:cNvPr>
          <p:cNvSpPr>
            <a:spLocks noChangeArrowheads="1"/>
          </p:cNvSpPr>
          <p:nvPr/>
        </p:nvSpPr>
        <p:spPr bwMode="auto">
          <a:xfrm>
            <a:off x="3311687" y="3076328"/>
            <a:ext cx="1244291" cy="36004"/>
          </a:xfrm>
          <a:custGeom>
            <a:avLst/>
            <a:gdLst>
              <a:gd name="T0" fmla="*/ 3755 w 3810"/>
              <a:gd name="T1" fmla="*/ 110 h 111"/>
              <a:gd name="T2" fmla="*/ 55 w 3810"/>
              <a:gd name="T3" fmla="*/ 110 h 111"/>
              <a:gd name="T4" fmla="*/ 55 w 3810"/>
              <a:gd name="T5" fmla="*/ 110 h 111"/>
              <a:gd name="T6" fmla="*/ 0 w 3810"/>
              <a:gd name="T7" fmla="*/ 55 h 111"/>
              <a:gd name="T8" fmla="*/ 0 w 3810"/>
              <a:gd name="T9" fmla="*/ 55 h 111"/>
              <a:gd name="T10" fmla="*/ 55 w 3810"/>
              <a:gd name="T11" fmla="*/ 0 h 111"/>
              <a:gd name="T12" fmla="*/ 3755 w 3810"/>
              <a:gd name="T13" fmla="*/ 0 h 111"/>
              <a:gd name="T14" fmla="*/ 3755 w 3810"/>
              <a:gd name="T15" fmla="*/ 0 h 111"/>
              <a:gd name="T16" fmla="*/ 3809 w 3810"/>
              <a:gd name="T17" fmla="*/ 55 h 111"/>
              <a:gd name="T18" fmla="*/ 3809 w 3810"/>
              <a:gd name="T19" fmla="*/ 55 h 111"/>
              <a:gd name="T20" fmla="*/ 3755 w 3810"/>
              <a:gd name="T21" fmla="*/ 11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10" h="111">
                <a:moveTo>
                  <a:pt x="3755" y="110"/>
                </a:moveTo>
                <a:lnTo>
                  <a:pt x="55" y="110"/>
                </a:lnTo>
                <a:lnTo>
                  <a:pt x="55" y="110"/>
                </a:lnTo>
                <a:cubicBezTo>
                  <a:pt x="25" y="110"/>
                  <a:pt x="0" y="86"/>
                  <a:pt x="0" y="55"/>
                </a:cubicBezTo>
                <a:lnTo>
                  <a:pt x="0" y="55"/>
                </a:lnTo>
                <a:cubicBezTo>
                  <a:pt x="0" y="25"/>
                  <a:pt x="25" y="0"/>
                  <a:pt x="55" y="0"/>
                </a:cubicBezTo>
                <a:lnTo>
                  <a:pt x="3755" y="0"/>
                </a:lnTo>
                <a:lnTo>
                  <a:pt x="3755" y="0"/>
                </a:lnTo>
                <a:cubicBezTo>
                  <a:pt x="3786" y="0"/>
                  <a:pt x="3809" y="25"/>
                  <a:pt x="3809" y="55"/>
                </a:cubicBezTo>
                <a:lnTo>
                  <a:pt x="3809" y="55"/>
                </a:lnTo>
                <a:cubicBezTo>
                  <a:pt x="3809" y="86"/>
                  <a:pt x="3786" y="110"/>
                  <a:pt x="3755" y="11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266"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8" name="Freeform 37">
            <a:extLst>
              <a:ext uri="{FF2B5EF4-FFF2-40B4-BE49-F238E27FC236}">
                <a16:creationId xmlns:a16="http://schemas.microsoft.com/office/drawing/2014/main" id="{5D7A9872-CFF5-C148-8EB6-FBD3CDF73481}"/>
              </a:ext>
            </a:extLst>
          </p:cNvPr>
          <p:cNvSpPr>
            <a:spLocks noChangeArrowheads="1"/>
          </p:cNvSpPr>
          <p:nvPr/>
        </p:nvSpPr>
        <p:spPr bwMode="auto">
          <a:xfrm>
            <a:off x="6059379" y="5646078"/>
            <a:ext cx="543904" cy="1208339"/>
          </a:xfrm>
          <a:custGeom>
            <a:avLst/>
            <a:gdLst>
              <a:gd name="connsiteX0" fmla="*/ 920794 w 1087807"/>
              <a:gd name="connsiteY0" fmla="*/ 0 h 2416678"/>
              <a:gd name="connsiteX1" fmla="*/ 965817 w 1087807"/>
              <a:gd name="connsiteY1" fmla="*/ 54568 h 2416678"/>
              <a:gd name="connsiteX2" fmla="*/ 1078961 w 1087807"/>
              <a:gd name="connsiteY2" fmla="*/ 147920 h 2416678"/>
              <a:gd name="connsiteX3" fmla="*/ 1087807 w 1087807"/>
              <a:gd name="connsiteY3" fmla="*/ 152721 h 2416678"/>
              <a:gd name="connsiteX4" fmla="*/ 1016821 w 1087807"/>
              <a:gd name="connsiteY4" fmla="*/ 190597 h 2416678"/>
              <a:gd name="connsiteX5" fmla="*/ 298912 w 1087807"/>
              <a:gd name="connsiteY5" fmla="*/ 908456 h 2416678"/>
              <a:gd name="connsiteX6" fmla="*/ 166425 w 1087807"/>
              <a:gd name="connsiteY6" fmla="*/ 1229826 h 2416678"/>
              <a:gd name="connsiteX7" fmla="*/ 166425 w 1087807"/>
              <a:gd name="connsiteY7" fmla="*/ 2333722 h 2416678"/>
              <a:gd name="connsiteX8" fmla="*/ 83539 w 1087807"/>
              <a:gd name="connsiteY8" fmla="*/ 2416678 h 2416678"/>
              <a:gd name="connsiteX9" fmla="*/ 0 w 1087807"/>
              <a:gd name="connsiteY9" fmla="*/ 2333722 h 2416678"/>
              <a:gd name="connsiteX10" fmla="*/ 0 w 1087807"/>
              <a:gd name="connsiteY10" fmla="*/ 1229826 h 2416678"/>
              <a:gd name="connsiteX11" fmla="*/ 182088 w 1087807"/>
              <a:gd name="connsiteY11" fmla="*/ 791534 h 2416678"/>
              <a:gd name="connsiteX12" fmla="*/ 869976 w 1087807"/>
              <a:gd name="connsiteY12" fmla="*/ 103069 h 2416678"/>
              <a:gd name="connsiteX13" fmla="*/ 913479 w 1087807"/>
              <a:gd name="connsiteY13" fmla="*/ 21512 h 241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87807" h="2416678">
                <a:moveTo>
                  <a:pt x="920794" y="0"/>
                </a:moveTo>
                <a:lnTo>
                  <a:pt x="965817" y="54568"/>
                </a:lnTo>
                <a:cubicBezTo>
                  <a:pt x="1000404" y="89155"/>
                  <a:pt x="1038289" y="120443"/>
                  <a:pt x="1078961" y="147920"/>
                </a:cubicBezTo>
                <a:lnTo>
                  <a:pt x="1087807" y="152721"/>
                </a:lnTo>
                <a:lnTo>
                  <a:pt x="1016821" y="190597"/>
                </a:lnTo>
                <a:lnTo>
                  <a:pt x="298912" y="908456"/>
                </a:lnTo>
                <a:cubicBezTo>
                  <a:pt x="213415" y="994024"/>
                  <a:pt x="166425" y="1108986"/>
                  <a:pt x="166425" y="1229826"/>
                </a:cubicBezTo>
                <a:lnTo>
                  <a:pt x="166425" y="2333722"/>
                </a:lnTo>
                <a:cubicBezTo>
                  <a:pt x="166425" y="2379446"/>
                  <a:pt x="129224" y="2416678"/>
                  <a:pt x="83539" y="2416678"/>
                </a:cubicBezTo>
                <a:cubicBezTo>
                  <a:pt x="37201" y="2416678"/>
                  <a:pt x="0" y="2379446"/>
                  <a:pt x="0" y="2333722"/>
                </a:cubicBezTo>
                <a:lnTo>
                  <a:pt x="0" y="1229826"/>
                </a:lnTo>
                <a:cubicBezTo>
                  <a:pt x="0" y="1064569"/>
                  <a:pt x="65265" y="908456"/>
                  <a:pt x="182088" y="791534"/>
                </a:cubicBezTo>
                <a:lnTo>
                  <a:pt x="869976" y="103069"/>
                </a:lnTo>
                <a:cubicBezTo>
                  <a:pt x="885640" y="78085"/>
                  <a:pt x="900528" y="50814"/>
                  <a:pt x="913479" y="21512"/>
                </a:cubicBezTo>
                <a:close/>
              </a:path>
            </a:pathLst>
          </a:custGeom>
          <a:solidFill>
            <a:srgbClr val="0091B5"/>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36" name="Freeform 35">
            <a:extLst>
              <a:ext uri="{FF2B5EF4-FFF2-40B4-BE49-F238E27FC236}">
                <a16:creationId xmlns:a16="http://schemas.microsoft.com/office/drawing/2014/main" id="{46EA2757-3A38-654C-8715-3E7C4B9A8BF5}"/>
              </a:ext>
            </a:extLst>
          </p:cNvPr>
          <p:cNvSpPr>
            <a:spLocks noChangeArrowheads="1"/>
          </p:cNvSpPr>
          <p:nvPr/>
        </p:nvSpPr>
        <p:spPr bwMode="auto">
          <a:xfrm>
            <a:off x="7030095" y="3686219"/>
            <a:ext cx="2151333" cy="1529748"/>
          </a:xfrm>
          <a:custGeom>
            <a:avLst/>
            <a:gdLst>
              <a:gd name="connsiteX0" fmla="*/ 1344930 w 4302666"/>
              <a:gd name="connsiteY0" fmla="*/ 0 h 3059496"/>
              <a:gd name="connsiteX1" fmla="*/ 4025704 w 4302666"/>
              <a:gd name="connsiteY1" fmla="*/ 0 h 3059496"/>
              <a:gd name="connsiteX2" fmla="*/ 4302666 w 4302666"/>
              <a:gd name="connsiteY2" fmla="*/ 276877 h 3059496"/>
              <a:gd name="connsiteX3" fmla="*/ 4302666 w 4302666"/>
              <a:gd name="connsiteY3" fmla="*/ 1737008 h 3059496"/>
              <a:gd name="connsiteX4" fmla="*/ 3194822 w 4302666"/>
              <a:gd name="connsiteY4" fmla="*/ 2844514 h 3059496"/>
              <a:gd name="connsiteX5" fmla="*/ 613335 w 4302666"/>
              <a:gd name="connsiteY5" fmla="*/ 2844514 h 3059496"/>
              <a:gd name="connsiteX6" fmla="*/ 270235 w 4302666"/>
              <a:gd name="connsiteY6" fmla="*/ 3011908 h 3059496"/>
              <a:gd name="connsiteX7" fmla="*/ 242658 w 4302666"/>
              <a:gd name="connsiteY7" fmla="*/ 3059496 h 3059496"/>
              <a:gd name="connsiteX8" fmla="*/ 213557 w 4302666"/>
              <a:gd name="connsiteY8" fmla="*/ 3005882 h 3059496"/>
              <a:gd name="connsiteX9" fmla="*/ 7061 w 4302666"/>
              <a:gd name="connsiteY9" fmla="*/ 2799386 h 3059496"/>
              <a:gd name="connsiteX10" fmla="*/ 0 w 4302666"/>
              <a:gd name="connsiteY10" fmla="*/ 2795553 h 3059496"/>
              <a:gd name="connsiteX11" fmla="*/ 48648 w 4302666"/>
              <a:gd name="connsiteY11" fmla="*/ 2764744 h 3059496"/>
              <a:gd name="connsiteX12" fmla="*/ 236433 w 4302666"/>
              <a:gd name="connsiteY12" fmla="*/ 2373040 h 3059496"/>
              <a:gd name="connsiteX13" fmla="*/ 236433 w 4302666"/>
              <a:gd name="connsiteY13" fmla="*/ 1106200 h 3059496"/>
              <a:gd name="connsiteX14" fmla="*/ 1344930 w 4302666"/>
              <a:gd name="connsiteY14" fmla="*/ 0 h 3059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02666" h="3059496">
                <a:moveTo>
                  <a:pt x="1344930" y="0"/>
                </a:moveTo>
                <a:lnTo>
                  <a:pt x="4025704" y="0"/>
                </a:lnTo>
                <a:cubicBezTo>
                  <a:pt x="4178556" y="0"/>
                  <a:pt x="4302666" y="123419"/>
                  <a:pt x="4302666" y="276877"/>
                </a:cubicBezTo>
                <a:lnTo>
                  <a:pt x="4302666" y="1737008"/>
                </a:lnTo>
                <a:cubicBezTo>
                  <a:pt x="4302666" y="2348879"/>
                  <a:pt x="3806226" y="2844514"/>
                  <a:pt x="3194822" y="2844514"/>
                </a:cubicBezTo>
                <a:lnTo>
                  <a:pt x="613335" y="2844514"/>
                </a:lnTo>
                <a:cubicBezTo>
                  <a:pt x="441867" y="2851860"/>
                  <a:pt x="335802" y="2923946"/>
                  <a:pt x="270235" y="3011908"/>
                </a:cubicBezTo>
                <a:lnTo>
                  <a:pt x="242658" y="3059496"/>
                </a:lnTo>
                <a:lnTo>
                  <a:pt x="213557" y="3005882"/>
                </a:lnTo>
                <a:cubicBezTo>
                  <a:pt x="158603" y="2924539"/>
                  <a:pt x="88404" y="2854340"/>
                  <a:pt x="7061" y="2799386"/>
                </a:cubicBezTo>
                <a:lnTo>
                  <a:pt x="0" y="2795553"/>
                </a:lnTo>
                <a:lnTo>
                  <a:pt x="48648" y="2764744"/>
                </a:lnTo>
                <a:cubicBezTo>
                  <a:pt x="187749" y="2645060"/>
                  <a:pt x="226635" y="2447320"/>
                  <a:pt x="236433" y="2373040"/>
                </a:cubicBezTo>
                <a:lnTo>
                  <a:pt x="236433" y="1106200"/>
                </a:lnTo>
                <a:cubicBezTo>
                  <a:pt x="236433" y="494982"/>
                  <a:pt x="732872" y="0"/>
                  <a:pt x="1344930" y="0"/>
                </a:cubicBezTo>
                <a:close/>
              </a:path>
            </a:pathLst>
          </a:custGeom>
          <a:solidFill>
            <a:srgbClr val="0091B5"/>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16" name="Freeform 545">
            <a:extLst>
              <a:ext uri="{FF2B5EF4-FFF2-40B4-BE49-F238E27FC236}">
                <a16:creationId xmlns:a16="http://schemas.microsoft.com/office/drawing/2014/main" id="{2A8A6FF2-1A70-0942-B5F2-BCBA7DD78D64}"/>
              </a:ext>
            </a:extLst>
          </p:cNvPr>
          <p:cNvSpPr>
            <a:spLocks noChangeArrowheads="1"/>
          </p:cNvSpPr>
          <p:nvPr/>
        </p:nvSpPr>
        <p:spPr bwMode="auto">
          <a:xfrm>
            <a:off x="6526724" y="5086355"/>
            <a:ext cx="590462" cy="590462"/>
          </a:xfrm>
          <a:custGeom>
            <a:avLst/>
            <a:gdLst>
              <a:gd name="T0" fmla="*/ 1809 w 1810"/>
              <a:gd name="T1" fmla="*/ 905 h 1810"/>
              <a:gd name="T2" fmla="*/ 1809 w 1810"/>
              <a:gd name="T3" fmla="*/ 905 h 1810"/>
              <a:gd name="T4" fmla="*/ 905 w 1810"/>
              <a:gd name="T5" fmla="*/ 1809 h 1810"/>
              <a:gd name="T6" fmla="*/ 905 w 1810"/>
              <a:gd name="T7" fmla="*/ 1809 h 1810"/>
              <a:gd name="T8" fmla="*/ 658 w 1810"/>
              <a:gd name="T9" fmla="*/ 1775 h 1810"/>
              <a:gd name="T10" fmla="*/ 658 w 1810"/>
              <a:gd name="T11" fmla="*/ 1775 h 1810"/>
              <a:gd name="T12" fmla="*/ 51 w 1810"/>
              <a:gd name="T13" fmla="*/ 1201 h 1810"/>
              <a:gd name="T14" fmla="*/ 51 w 1810"/>
              <a:gd name="T15" fmla="*/ 1201 h 1810"/>
              <a:gd name="T16" fmla="*/ 0 w 1810"/>
              <a:gd name="T17" fmla="*/ 905 h 1810"/>
              <a:gd name="T18" fmla="*/ 0 w 1810"/>
              <a:gd name="T19" fmla="*/ 905 h 1810"/>
              <a:gd name="T20" fmla="*/ 905 w 1810"/>
              <a:gd name="T21" fmla="*/ 0 h 1810"/>
              <a:gd name="T22" fmla="*/ 905 w 1810"/>
              <a:gd name="T23" fmla="*/ 0 h 1810"/>
              <a:gd name="T24" fmla="*/ 1051 w 1810"/>
              <a:gd name="T25" fmla="*/ 12 h 1810"/>
              <a:gd name="T26" fmla="*/ 1051 w 1810"/>
              <a:gd name="T27" fmla="*/ 13 h 1810"/>
              <a:gd name="T28" fmla="*/ 1051 w 1810"/>
              <a:gd name="T29" fmla="*/ 13 h 1810"/>
              <a:gd name="T30" fmla="*/ 1801 w 1810"/>
              <a:gd name="T31" fmla="*/ 786 h 1810"/>
              <a:gd name="T32" fmla="*/ 1801 w 1810"/>
              <a:gd name="T33" fmla="*/ 786 h 1810"/>
              <a:gd name="T34" fmla="*/ 1809 w 1810"/>
              <a:gd name="T35" fmla="*/ 905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10" h="1810">
                <a:moveTo>
                  <a:pt x="1809" y="905"/>
                </a:moveTo>
                <a:lnTo>
                  <a:pt x="1809" y="905"/>
                </a:lnTo>
                <a:cubicBezTo>
                  <a:pt x="1809" y="1404"/>
                  <a:pt x="1404" y="1809"/>
                  <a:pt x="905" y="1809"/>
                </a:cubicBezTo>
                <a:lnTo>
                  <a:pt x="905" y="1809"/>
                </a:lnTo>
                <a:cubicBezTo>
                  <a:pt x="819" y="1809"/>
                  <a:pt x="736" y="1797"/>
                  <a:pt x="658" y="1775"/>
                </a:cubicBezTo>
                <a:lnTo>
                  <a:pt x="658" y="1775"/>
                </a:lnTo>
                <a:cubicBezTo>
                  <a:pt x="373" y="1694"/>
                  <a:pt x="146" y="1479"/>
                  <a:pt x="51" y="1201"/>
                </a:cubicBezTo>
                <a:lnTo>
                  <a:pt x="51" y="1201"/>
                </a:lnTo>
                <a:cubicBezTo>
                  <a:pt x="18" y="1108"/>
                  <a:pt x="0" y="1009"/>
                  <a:pt x="0" y="905"/>
                </a:cubicBezTo>
                <a:lnTo>
                  <a:pt x="0" y="905"/>
                </a:lnTo>
                <a:cubicBezTo>
                  <a:pt x="0" y="405"/>
                  <a:pt x="405" y="0"/>
                  <a:pt x="905" y="0"/>
                </a:cubicBezTo>
                <a:lnTo>
                  <a:pt x="905" y="0"/>
                </a:lnTo>
                <a:cubicBezTo>
                  <a:pt x="954" y="0"/>
                  <a:pt x="1003" y="4"/>
                  <a:pt x="1051" y="12"/>
                </a:cubicBezTo>
                <a:lnTo>
                  <a:pt x="1051" y="13"/>
                </a:lnTo>
                <a:lnTo>
                  <a:pt x="1051" y="13"/>
                </a:lnTo>
                <a:cubicBezTo>
                  <a:pt x="1442" y="76"/>
                  <a:pt x="1750" y="391"/>
                  <a:pt x="1801" y="786"/>
                </a:cubicBezTo>
                <a:lnTo>
                  <a:pt x="1801" y="786"/>
                </a:lnTo>
                <a:cubicBezTo>
                  <a:pt x="1806" y="825"/>
                  <a:pt x="1809" y="864"/>
                  <a:pt x="1809" y="905"/>
                </a:cubicBezTo>
              </a:path>
            </a:pathLst>
          </a:custGeom>
          <a:solidFill>
            <a:schemeClr val="accent4"/>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266"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7" name="Freeform 547">
            <a:extLst>
              <a:ext uri="{FF2B5EF4-FFF2-40B4-BE49-F238E27FC236}">
                <a16:creationId xmlns:a16="http://schemas.microsoft.com/office/drawing/2014/main" id="{0FB91D84-6FD1-8E48-809D-4C2B79C480E0}"/>
              </a:ext>
            </a:extLst>
          </p:cNvPr>
          <p:cNvSpPr>
            <a:spLocks noChangeArrowheads="1"/>
          </p:cNvSpPr>
          <p:nvPr/>
        </p:nvSpPr>
        <p:spPr bwMode="auto">
          <a:xfrm>
            <a:off x="7506909" y="4032639"/>
            <a:ext cx="1244291" cy="36004"/>
          </a:xfrm>
          <a:custGeom>
            <a:avLst/>
            <a:gdLst>
              <a:gd name="T0" fmla="*/ 3756 w 3812"/>
              <a:gd name="T1" fmla="*/ 109 h 110"/>
              <a:gd name="T2" fmla="*/ 55 w 3812"/>
              <a:gd name="T3" fmla="*/ 109 h 110"/>
              <a:gd name="T4" fmla="*/ 55 w 3812"/>
              <a:gd name="T5" fmla="*/ 109 h 110"/>
              <a:gd name="T6" fmla="*/ 0 w 3812"/>
              <a:gd name="T7" fmla="*/ 55 h 110"/>
              <a:gd name="T8" fmla="*/ 0 w 3812"/>
              <a:gd name="T9" fmla="*/ 55 h 110"/>
              <a:gd name="T10" fmla="*/ 55 w 3812"/>
              <a:gd name="T11" fmla="*/ 0 h 110"/>
              <a:gd name="T12" fmla="*/ 3756 w 3812"/>
              <a:gd name="T13" fmla="*/ 0 h 110"/>
              <a:gd name="T14" fmla="*/ 3756 w 3812"/>
              <a:gd name="T15" fmla="*/ 0 h 110"/>
              <a:gd name="T16" fmla="*/ 3811 w 3812"/>
              <a:gd name="T17" fmla="*/ 55 h 110"/>
              <a:gd name="T18" fmla="*/ 3811 w 3812"/>
              <a:gd name="T19" fmla="*/ 55 h 110"/>
              <a:gd name="T20" fmla="*/ 3756 w 3812"/>
              <a:gd name="T21" fmla="*/ 10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12" h="110">
                <a:moveTo>
                  <a:pt x="3756" y="109"/>
                </a:moveTo>
                <a:lnTo>
                  <a:pt x="55" y="109"/>
                </a:lnTo>
                <a:lnTo>
                  <a:pt x="55" y="109"/>
                </a:lnTo>
                <a:cubicBezTo>
                  <a:pt x="25" y="109"/>
                  <a:pt x="0" y="85"/>
                  <a:pt x="0" y="55"/>
                </a:cubicBezTo>
                <a:lnTo>
                  <a:pt x="0" y="55"/>
                </a:lnTo>
                <a:cubicBezTo>
                  <a:pt x="0" y="25"/>
                  <a:pt x="25" y="0"/>
                  <a:pt x="55" y="0"/>
                </a:cubicBezTo>
                <a:lnTo>
                  <a:pt x="3756" y="0"/>
                </a:lnTo>
                <a:lnTo>
                  <a:pt x="3756" y="0"/>
                </a:lnTo>
                <a:cubicBezTo>
                  <a:pt x="3786" y="0"/>
                  <a:pt x="3811" y="25"/>
                  <a:pt x="3811" y="55"/>
                </a:cubicBezTo>
                <a:lnTo>
                  <a:pt x="3811" y="55"/>
                </a:lnTo>
                <a:cubicBezTo>
                  <a:pt x="3811" y="85"/>
                  <a:pt x="3786" y="109"/>
                  <a:pt x="3756" y="10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266"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2" name="Freeform 31">
            <a:extLst>
              <a:ext uri="{FF2B5EF4-FFF2-40B4-BE49-F238E27FC236}">
                <a16:creationId xmlns:a16="http://schemas.microsoft.com/office/drawing/2014/main" id="{F6405D13-8A9F-B048-AF0E-D639B5C630CC}"/>
              </a:ext>
            </a:extLst>
          </p:cNvPr>
          <p:cNvSpPr>
            <a:spLocks noChangeArrowheads="1"/>
          </p:cNvSpPr>
          <p:nvPr/>
        </p:nvSpPr>
        <p:spPr bwMode="auto">
          <a:xfrm>
            <a:off x="2914088" y="4236549"/>
            <a:ext cx="2265263" cy="1534031"/>
          </a:xfrm>
          <a:custGeom>
            <a:avLst/>
            <a:gdLst>
              <a:gd name="connsiteX0" fmla="*/ 276884 w 4530526"/>
              <a:gd name="connsiteY0" fmla="*/ 0 h 3068062"/>
              <a:gd name="connsiteX1" fmla="*/ 3183515 w 4530526"/>
              <a:gd name="connsiteY1" fmla="*/ 0 h 3068062"/>
              <a:gd name="connsiteX2" fmla="*/ 4291052 w 4530526"/>
              <a:gd name="connsiteY2" fmla="*/ 1108024 h 3068062"/>
              <a:gd name="connsiteX3" fmla="*/ 4291052 w 4530526"/>
              <a:gd name="connsiteY3" fmla="*/ 2374805 h 3068062"/>
              <a:gd name="connsiteX4" fmla="*/ 4479072 w 4530526"/>
              <a:gd name="connsiteY4" fmla="*/ 2767139 h 3068062"/>
              <a:gd name="connsiteX5" fmla="*/ 4530526 w 4530526"/>
              <a:gd name="connsiteY5" fmla="*/ 2799809 h 3068062"/>
              <a:gd name="connsiteX6" fmla="*/ 4527345 w 4530526"/>
              <a:gd name="connsiteY6" fmla="*/ 2801536 h 3068062"/>
              <a:gd name="connsiteX7" fmla="*/ 4320849 w 4530526"/>
              <a:gd name="connsiteY7" fmla="*/ 3008032 h 3068062"/>
              <a:gd name="connsiteX8" fmla="*/ 4288266 w 4530526"/>
              <a:gd name="connsiteY8" fmla="*/ 3068062 h 3068062"/>
              <a:gd name="connsiteX9" fmla="*/ 4257294 w 4530526"/>
              <a:gd name="connsiteY9" fmla="*/ 3014624 h 3068062"/>
              <a:gd name="connsiteX10" fmla="*/ 3914255 w 4530526"/>
              <a:gd name="connsiteY10" fmla="*/ 2847152 h 3068062"/>
              <a:gd name="connsiteX11" fmla="*/ 1107537 w 4530526"/>
              <a:gd name="connsiteY11" fmla="*/ 2847152 h 3068062"/>
              <a:gd name="connsiteX12" fmla="*/ 0 w 4530526"/>
              <a:gd name="connsiteY12" fmla="*/ 1739128 h 3068062"/>
              <a:gd name="connsiteX13" fmla="*/ 0 w 4530526"/>
              <a:gd name="connsiteY13" fmla="*/ 277659 h 3068062"/>
              <a:gd name="connsiteX14" fmla="*/ 276884 w 4530526"/>
              <a:gd name="connsiteY14" fmla="*/ 0 h 3068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30526" h="3068062">
                <a:moveTo>
                  <a:pt x="276884" y="0"/>
                </a:moveTo>
                <a:lnTo>
                  <a:pt x="3183515" y="0"/>
                </a:lnTo>
                <a:cubicBezTo>
                  <a:pt x="3794750" y="0"/>
                  <a:pt x="4291052" y="495867"/>
                  <a:pt x="4291052" y="1108024"/>
                </a:cubicBezTo>
                <a:lnTo>
                  <a:pt x="4291052" y="2374805"/>
                </a:lnTo>
                <a:cubicBezTo>
                  <a:pt x="4300848" y="2449119"/>
                  <a:pt x="4339978" y="2647207"/>
                  <a:pt x="4479072" y="2767139"/>
                </a:cubicBezTo>
                <a:lnTo>
                  <a:pt x="4530526" y="2799809"/>
                </a:lnTo>
                <a:lnTo>
                  <a:pt x="4527345" y="2801536"/>
                </a:lnTo>
                <a:cubicBezTo>
                  <a:pt x="4446002" y="2856490"/>
                  <a:pt x="4375803" y="2926689"/>
                  <a:pt x="4320849" y="3008032"/>
                </a:cubicBezTo>
                <a:lnTo>
                  <a:pt x="4288266" y="3068062"/>
                </a:lnTo>
                <a:lnTo>
                  <a:pt x="4257294" y="3014624"/>
                </a:lnTo>
                <a:cubicBezTo>
                  <a:pt x="4191711" y="2926622"/>
                  <a:pt x="4085675" y="2854502"/>
                  <a:pt x="3914255" y="2847152"/>
                </a:cubicBezTo>
                <a:lnTo>
                  <a:pt x="1107537" y="2847152"/>
                </a:lnTo>
                <a:cubicBezTo>
                  <a:pt x="496302" y="2847152"/>
                  <a:pt x="0" y="2350632"/>
                  <a:pt x="0" y="1739128"/>
                </a:cubicBezTo>
                <a:lnTo>
                  <a:pt x="0" y="277659"/>
                </a:lnTo>
                <a:cubicBezTo>
                  <a:pt x="0" y="124130"/>
                  <a:pt x="124076" y="0"/>
                  <a:pt x="276884" y="0"/>
                </a:cubicBezTo>
                <a:close/>
              </a:path>
            </a:pathLst>
          </a:custGeom>
          <a:solidFill>
            <a:srgbClr val="2A4A8B"/>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Lato Light" panose="020F0502020204030203"/>
              <a:ea typeface="+mn-ea"/>
              <a:cs typeface="+mn-cs"/>
            </a:endParaRPr>
          </a:p>
        </p:txBody>
      </p:sp>
      <p:sp>
        <p:nvSpPr>
          <p:cNvPr id="34" name="Freeform 33">
            <a:extLst>
              <a:ext uri="{FF2B5EF4-FFF2-40B4-BE49-F238E27FC236}">
                <a16:creationId xmlns:a16="http://schemas.microsoft.com/office/drawing/2014/main" id="{6856EB6C-F727-5042-B9FF-DFD95911CC9F}"/>
              </a:ext>
            </a:extLst>
          </p:cNvPr>
          <p:cNvSpPr>
            <a:spLocks noChangeArrowheads="1"/>
          </p:cNvSpPr>
          <p:nvPr/>
        </p:nvSpPr>
        <p:spPr bwMode="auto">
          <a:xfrm>
            <a:off x="5600895" y="6199632"/>
            <a:ext cx="541687" cy="654785"/>
          </a:xfrm>
          <a:custGeom>
            <a:avLst/>
            <a:gdLst>
              <a:gd name="connsiteX0" fmla="*/ 164054 w 1083373"/>
              <a:gd name="connsiteY0" fmla="*/ 0 h 1309570"/>
              <a:gd name="connsiteX1" fmla="*/ 170212 w 1083373"/>
              <a:gd name="connsiteY1" fmla="*/ 17944 h 1309570"/>
              <a:gd name="connsiteX2" fmla="*/ 213859 w 1083373"/>
              <a:gd name="connsiteY2" fmla="*/ 99138 h 1309570"/>
              <a:gd name="connsiteX3" fmla="*/ 901761 w 1083373"/>
              <a:gd name="connsiteY3" fmla="*/ 787640 h 1309570"/>
              <a:gd name="connsiteX4" fmla="*/ 1083373 w 1083373"/>
              <a:gd name="connsiteY4" fmla="*/ 1226610 h 1309570"/>
              <a:gd name="connsiteX5" fmla="*/ 1000406 w 1083373"/>
              <a:gd name="connsiteY5" fmla="*/ 1309570 h 1309570"/>
              <a:gd name="connsiteX6" fmla="*/ 916787 w 1083373"/>
              <a:gd name="connsiteY6" fmla="*/ 1226610 h 1309570"/>
              <a:gd name="connsiteX7" fmla="*/ 784825 w 1083373"/>
              <a:gd name="connsiteY7" fmla="*/ 905221 h 1309570"/>
              <a:gd name="connsiteX8" fmla="*/ 66218 w 1083373"/>
              <a:gd name="connsiteY8" fmla="*/ 187323 h 1309570"/>
              <a:gd name="connsiteX9" fmla="*/ 8801 w 1083373"/>
              <a:gd name="connsiteY9" fmla="*/ 153465 h 1309570"/>
              <a:gd name="connsiteX10" fmla="*/ 0 w 1083373"/>
              <a:gd name="connsiteY10" fmla="*/ 149294 h 1309570"/>
              <a:gd name="connsiteX11" fmla="*/ 8609 w 1083373"/>
              <a:gd name="connsiteY11" fmla="*/ 144621 h 1309570"/>
              <a:gd name="connsiteX12" fmla="*/ 121753 w 1083373"/>
              <a:gd name="connsiteY12" fmla="*/ 51269 h 1309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3373" h="1309570">
                <a:moveTo>
                  <a:pt x="164054" y="0"/>
                </a:moveTo>
                <a:lnTo>
                  <a:pt x="170212" y="17944"/>
                </a:lnTo>
                <a:cubicBezTo>
                  <a:pt x="183237" y="47165"/>
                  <a:pt x="198181" y="74315"/>
                  <a:pt x="213859" y="99138"/>
                </a:cubicBezTo>
                <a:lnTo>
                  <a:pt x="901761" y="787640"/>
                </a:lnTo>
                <a:cubicBezTo>
                  <a:pt x="1018698" y="905221"/>
                  <a:pt x="1083373" y="1060690"/>
                  <a:pt x="1083373" y="1226610"/>
                </a:cubicBezTo>
                <a:cubicBezTo>
                  <a:pt x="1083373" y="1272336"/>
                  <a:pt x="1046136" y="1309570"/>
                  <a:pt x="1000406" y="1309570"/>
                </a:cubicBezTo>
                <a:cubicBezTo>
                  <a:pt x="954024" y="1309570"/>
                  <a:pt x="916787" y="1272336"/>
                  <a:pt x="916787" y="1226610"/>
                </a:cubicBezTo>
                <a:cubicBezTo>
                  <a:pt x="916787" y="1105109"/>
                  <a:pt x="870404" y="990794"/>
                  <a:pt x="784825" y="905221"/>
                </a:cubicBezTo>
                <a:lnTo>
                  <a:pt x="66218" y="187323"/>
                </a:lnTo>
                <a:cubicBezTo>
                  <a:pt x="46701" y="174585"/>
                  <a:pt x="27511" y="163358"/>
                  <a:pt x="8801" y="153465"/>
                </a:cubicBezTo>
                <a:lnTo>
                  <a:pt x="0" y="149294"/>
                </a:lnTo>
                <a:lnTo>
                  <a:pt x="8609" y="144621"/>
                </a:lnTo>
                <a:cubicBezTo>
                  <a:pt x="49281" y="117144"/>
                  <a:pt x="87166" y="85856"/>
                  <a:pt x="121753" y="51269"/>
                </a:cubicBezTo>
                <a:close/>
              </a:path>
            </a:pathLst>
          </a:custGeom>
          <a:solidFill>
            <a:srgbClr val="2A4A8B"/>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Lato Light" panose="020F0502020204030203"/>
              <a:ea typeface="+mn-ea"/>
              <a:cs typeface="+mn-cs"/>
            </a:endParaRPr>
          </a:p>
        </p:txBody>
      </p:sp>
      <p:sp>
        <p:nvSpPr>
          <p:cNvPr id="20" name="Freeform 698">
            <a:extLst>
              <a:ext uri="{FF2B5EF4-FFF2-40B4-BE49-F238E27FC236}">
                <a16:creationId xmlns:a16="http://schemas.microsoft.com/office/drawing/2014/main" id="{1F18A361-1617-2442-B34F-0EAFE3D2844D}"/>
              </a:ext>
            </a:extLst>
          </p:cNvPr>
          <p:cNvSpPr>
            <a:spLocks noChangeArrowheads="1"/>
          </p:cNvSpPr>
          <p:nvPr/>
        </p:nvSpPr>
        <p:spPr bwMode="auto">
          <a:xfrm>
            <a:off x="5094478" y="5660858"/>
            <a:ext cx="590462" cy="590462"/>
          </a:xfrm>
          <a:custGeom>
            <a:avLst/>
            <a:gdLst>
              <a:gd name="T0" fmla="*/ 1809 w 1810"/>
              <a:gd name="T1" fmla="*/ 905 h 1810"/>
              <a:gd name="T2" fmla="*/ 1809 w 1810"/>
              <a:gd name="T3" fmla="*/ 905 h 1810"/>
              <a:gd name="T4" fmla="*/ 1759 w 1810"/>
              <a:gd name="T5" fmla="*/ 1201 h 1810"/>
              <a:gd name="T6" fmla="*/ 1759 w 1810"/>
              <a:gd name="T7" fmla="*/ 1201 h 1810"/>
              <a:gd name="T8" fmla="*/ 1152 w 1810"/>
              <a:gd name="T9" fmla="*/ 1774 h 1810"/>
              <a:gd name="T10" fmla="*/ 1152 w 1810"/>
              <a:gd name="T11" fmla="*/ 1774 h 1810"/>
              <a:gd name="T12" fmla="*/ 905 w 1810"/>
              <a:gd name="T13" fmla="*/ 1809 h 1810"/>
              <a:gd name="T14" fmla="*/ 905 w 1810"/>
              <a:gd name="T15" fmla="*/ 1809 h 1810"/>
              <a:gd name="T16" fmla="*/ 0 w 1810"/>
              <a:gd name="T17" fmla="*/ 905 h 1810"/>
              <a:gd name="T18" fmla="*/ 0 w 1810"/>
              <a:gd name="T19" fmla="*/ 905 h 1810"/>
              <a:gd name="T20" fmla="*/ 9 w 1810"/>
              <a:gd name="T21" fmla="*/ 786 h 1810"/>
              <a:gd name="T22" fmla="*/ 9 w 1810"/>
              <a:gd name="T23" fmla="*/ 786 h 1810"/>
              <a:gd name="T24" fmla="*/ 757 w 1810"/>
              <a:gd name="T25" fmla="*/ 12 h 1810"/>
              <a:gd name="T26" fmla="*/ 757 w 1810"/>
              <a:gd name="T27" fmla="*/ 12 h 1810"/>
              <a:gd name="T28" fmla="*/ 905 w 1810"/>
              <a:gd name="T29" fmla="*/ 0 h 1810"/>
              <a:gd name="T30" fmla="*/ 905 w 1810"/>
              <a:gd name="T31" fmla="*/ 0 h 1810"/>
              <a:gd name="T32" fmla="*/ 1809 w 1810"/>
              <a:gd name="T33" fmla="*/ 905 h 1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0" h="1810">
                <a:moveTo>
                  <a:pt x="1809" y="905"/>
                </a:moveTo>
                <a:lnTo>
                  <a:pt x="1809" y="905"/>
                </a:lnTo>
                <a:cubicBezTo>
                  <a:pt x="1809" y="1008"/>
                  <a:pt x="1792" y="1108"/>
                  <a:pt x="1759" y="1201"/>
                </a:cubicBezTo>
                <a:lnTo>
                  <a:pt x="1759" y="1201"/>
                </a:lnTo>
                <a:cubicBezTo>
                  <a:pt x="1663" y="1478"/>
                  <a:pt x="1436" y="1694"/>
                  <a:pt x="1152" y="1774"/>
                </a:cubicBezTo>
                <a:lnTo>
                  <a:pt x="1152" y="1774"/>
                </a:lnTo>
                <a:cubicBezTo>
                  <a:pt x="1073" y="1797"/>
                  <a:pt x="991" y="1809"/>
                  <a:pt x="905" y="1809"/>
                </a:cubicBezTo>
                <a:lnTo>
                  <a:pt x="905" y="1809"/>
                </a:lnTo>
                <a:cubicBezTo>
                  <a:pt x="406" y="1809"/>
                  <a:pt x="0" y="1404"/>
                  <a:pt x="0" y="905"/>
                </a:cubicBezTo>
                <a:lnTo>
                  <a:pt x="0" y="905"/>
                </a:lnTo>
                <a:cubicBezTo>
                  <a:pt x="0" y="864"/>
                  <a:pt x="3" y="825"/>
                  <a:pt x="9" y="786"/>
                </a:cubicBezTo>
                <a:lnTo>
                  <a:pt x="9" y="786"/>
                </a:lnTo>
                <a:cubicBezTo>
                  <a:pt x="60" y="391"/>
                  <a:pt x="366" y="76"/>
                  <a:pt x="757" y="12"/>
                </a:cubicBezTo>
                <a:lnTo>
                  <a:pt x="757" y="12"/>
                </a:lnTo>
                <a:cubicBezTo>
                  <a:pt x="806" y="4"/>
                  <a:pt x="855" y="0"/>
                  <a:pt x="905" y="0"/>
                </a:cubicBezTo>
                <a:lnTo>
                  <a:pt x="905" y="0"/>
                </a:lnTo>
                <a:cubicBezTo>
                  <a:pt x="1404" y="0"/>
                  <a:pt x="1809" y="405"/>
                  <a:pt x="1809" y="905"/>
                </a:cubicBezTo>
              </a:path>
            </a:pathLst>
          </a:custGeom>
          <a:solidFill>
            <a:srgbClr val="2A4A8B"/>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prstClr val="white"/>
              </a:solidFill>
              <a:effectLst/>
              <a:uLnTx/>
              <a:uFillTx/>
              <a:latin typeface="Lato Light" panose="020F0502020204030203"/>
              <a:ea typeface="+mn-ea"/>
              <a:cs typeface="+mn-cs"/>
            </a:endParaRPr>
          </a:p>
        </p:txBody>
      </p:sp>
      <p:sp>
        <p:nvSpPr>
          <p:cNvPr id="21" name="Freeform 769">
            <a:extLst>
              <a:ext uri="{FF2B5EF4-FFF2-40B4-BE49-F238E27FC236}">
                <a16:creationId xmlns:a16="http://schemas.microsoft.com/office/drawing/2014/main" id="{9B62A939-798B-5049-9561-E6AC067B59D6}"/>
              </a:ext>
            </a:extLst>
          </p:cNvPr>
          <p:cNvSpPr>
            <a:spLocks noChangeArrowheads="1"/>
          </p:cNvSpPr>
          <p:nvPr/>
        </p:nvSpPr>
        <p:spPr bwMode="auto">
          <a:xfrm>
            <a:off x="3316362" y="4667086"/>
            <a:ext cx="1244291" cy="36004"/>
          </a:xfrm>
          <a:custGeom>
            <a:avLst/>
            <a:gdLst>
              <a:gd name="T0" fmla="*/ 3755 w 3810"/>
              <a:gd name="T1" fmla="*/ 109 h 110"/>
              <a:gd name="T2" fmla="*/ 55 w 3810"/>
              <a:gd name="T3" fmla="*/ 109 h 110"/>
              <a:gd name="T4" fmla="*/ 55 w 3810"/>
              <a:gd name="T5" fmla="*/ 109 h 110"/>
              <a:gd name="T6" fmla="*/ 0 w 3810"/>
              <a:gd name="T7" fmla="*/ 55 h 110"/>
              <a:gd name="T8" fmla="*/ 0 w 3810"/>
              <a:gd name="T9" fmla="*/ 55 h 110"/>
              <a:gd name="T10" fmla="*/ 55 w 3810"/>
              <a:gd name="T11" fmla="*/ 0 h 110"/>
              <a:gd name="T12" fmla="*/ 3755 w 3810"/>
              <a:gd name="T13" fmla="*/ 0 h 110"/>
              <a:gd name="T14" fmla="*/ 3755 w 3810"/>
              <a:gd name="T15" fmla="*/ 0 h 110"/>
              <a:gd name="T16" fmla="*/ 3809 w 3810"/>
              <a:gd name="T17" fmla="*/ 55 h 110"/>
              <a:gd name="T18" fmla="*/ 3809 w 3810"/>
              <a:gd name="T19" fmla="*/ 55 h 110"/>
              <a:gd name="T20" fmla="*/ 3755 w 3810"/>
              <a:gd name="T21" fmla="*/ 10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10" h="110">
                <a:moveTo>
                  <a:pt x="3755" y="109"/>
                </a:moveTo>
                <a:lnTo>
                  <a:pt x="55" y="109"/>
                </a:lnTo>
                <a:lnTo>
                  <a:pt x="55" y="109"/>
                </a:lnTo>
                <a:cubicBezTo>
                  <a:pt x="25" y="109"/>
                  <a:pt x="0" y="85"/>
                  <a:pt x="0" y="55"/>
                </a:cubicBezTo>
                <a:lnTo>
                  <a:pt x="0" y="55"/>
                </a:lnTo>
                <a:cubicBezTo>
                  <a:pt x="0" y="25"/>
                  <a:pt x="25" y="0"/>
                  <a:pt x="55" y="0"/>
                </a:cubicBezTo>
                <a:lnTo>
                  <a:pt x="3755" y="0"/>
                </a:lnTo>
                <a:lnTo>
                  <a:pt x="3755" y="0"/>
                </a:lnTo>
                <a:cubicBezTo>
                  <a:pt x="3786" y="0"/>
                  <a:pt x="3809" y="25"/>
                  <a:pt x="3809" y="55"/>
                </a:cubicBezTo>
                <a:lnTo>
                  <a:pt x="3809" y="55"/>
                </a:lnTo>
                <a:cubicBezTo>
                  <a:pt x="3809" y="85"/>
                  <a:pt x="3786" y="109"/>
                  <a:pt x="3755" y="10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266"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45" name="TextBox 44">
            <a:extLst>
              <a:ext uri="{FF2B5EF4-FFF2-40B4-BE49-F238E27FC236}">
                <a16:creationId xmlns:a16="http://schemas.microsoft.com/office/drawing/2014/main" id="{8C6F13B4-6D7A-E343-8029-8A1B60A063D0}"/>
              </a:ext>
            </a:extLst>
          </p:cNvPr>
          <p:cNvSpPr txBox="1"/>
          <p:nvPr/>
        </p:nvSpPr>
        <p:spPr>
          <a:xfrm>
            <a:off x="2886450" y="1105566"/>
            <a:ext cx="2043706" cy="307777"/>
          </a:xfrm>
          <a:prstGeom prst="rect">
            <a:avLst/>
          </a:prstGeom>
          <a:noFill/>
        </p:spPr>
        <p:txBody>
          <a:bodyPr wrap="square" rtlCol="0" anchor="b"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Senior Management </a:t>
            </a:r>
          </a:p>
        </p:txBody>
      </p:sp>
      <p:sp>
        <p:nvSpPr>
          <p:cNvPr id="46" name="Subtitle 2">
            <a:extLst>
              <a:ext uri="{FF2B5EF4-FFF2-40B4-BE49-F238E27FC236}">
                <a16:creationId xmlns:a16="http://schemas.microsoft.com/office/drawing/2014/main" id="{45ABA10C-161C-F140-9C7D-DFF6D871B17F}"/>
              </a:ext>
            </a:extLst>
          </p:cNvPr>
          <p:cNvSpPr txBox="1">
            <a:spLocks/>
          </p:cNvSpPr>
          <p:nvPr/>
        </p:nvSpPr>
        <p:spPr>
          <a:xfrm>
            <a:off x="2992984" y="1682683"/>
            <a:ext cx="1927807" cy="60420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543818" rtl="0" eaLnBrk="1" fontAlgn="auto" latinLnBrk="0" hangingPunct="1">
              <a:lnSpc>
                <a:spcPts val="1500"/>
              </a:lnSpc>
              <a:spcBef>
                <a:spcPct val="20000"/>
              </a:spcBef>
              <a:spcAft>
                <a:spcPts val="0"/>
              </a:spcAft>
              <a:buClrTx/>
              <a:buSzTx/>
              <a:buFont typeface="Arial"/>
              <a:buNone/>
              <a:tabLst/>
              <a:defRPr/>
            </a:pPr>
            <a:r>
              <a:rPr kumimoji="0" lang="en-US" sz="10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Get the leadership committed to driving the KPI and Balanced scorecard organization wide.</a:t>
            </a:r>
          </a:p>
        </p:txBody>
      </p:sp>
      <p:sp>
        <p:nvSpPr>
          <p:cNvPr id="47" name="TextBox 46">
            <a:extLst>
              <a:ext uri="{FF2B5EF4-FFF2-40B4-BE49-F238E27FC236}">
                <a16:creationId xmlns:a16="http://schemas.microsoft.com/office/drawing/2014/main" id="{F34E7341-22C7-9741-A23D-5E73F6E28071}"/>
              </a:ext>
            </a:extLst>
          </p:cNvPr>
          <p:cNvSpPr txBox="1"/>
          <p:nvPr/>
        </p:nvSpPr>
        <p:spPr>
          <a:xfrm>
            <a:off x="2907888" y="2719700"/>
            <a:ext cx="1811826" cy="228816"/>
          </a:xfrm>
          <a:prstGeom prst="rect">
            <a:avLst/>
          </a:prstGeom>
          <a:solidFill>
            <a:srgbClr val="0091B5"/>
          </a:solidFill>
          <a:ln w="12700" cap="flat" cmpd="sng" algn="ctr">
            <a:noFill/>
            <a:prstDash val="solid"/>
            <a:miter lim="800000"/>
          </a:ln>
          <a:effectLst/>
        </p:spPr>
        <p:txBody>
          <a:bodyPr wrap="square" rtlCol="0" anchor="ctr"/>
          <a:lstStyle>
            <a:defPPr>
              <a:defRPr lang="en-US"/>
            </a:defPPr>
            <a:lvl1pPr algn="ctr" defTabSz="914217">
              <a:defRPr sz="1000" b="1" kern="0">
                <a:solidFill>
                  <a:srgbClr val="FFFFFF"/>
                </a:solidFill>
                <a:latin typeface="Lato Light" panose="020F0502020204030203"/>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Lato Light" panose="020F0502020204030203"/>
                <a:ea typeface="+mn-ea"/>
                <a:cs typeface="+mn-cs"/>
              </a:rPr>
              <a:t>Upskill inhouse resources</a:t>
            </a:r>
          </a:p>
        </p:txBody>
      </p:sp>
      <p:sp>
        <p:nvSpPr>
          <p:cNvPr id="48" name="Subtitle 2">
            <a:extLst>
              <a:ext uri="{FF2B5EF4-FFF2-40B4-BE49-F238E27FC236}">
                <a16:creationId xmlns:a16="http://schemas.microsoft.com/office/drawing/2014/main" id="{0557C52A-466B-D943-8351-A0DAAAD83E5A}"/>
              </a:ext>
            </a:extLst>
          </p:cNvPr>
          <p:cNvSpPr txBox="1">
            <a:spLocks/>
          </p:cNvSpPr>
          <p:nvPr/>
        </p:nvSpPr>
        <p:spPr>
          <a:xfrm>
            <a:off x="2899181" y="3151282"/>
            <a:ext cx="1820532" cy="796565"/>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543818" rtl="0" eaLnBrk="1" fontAlgn="auto" latinLnBrk="0" hangingPunct="1">
              <a:lnSpc>
                <a:spcPts val="1500"/>
              </a:lnSpc>
              <a:spcBef>
                <a:spcPct val="20000"/>
              </a:spcBef>
              <a:spcAft>
                <a:spcPts val="0"/>
              </a:spcAft>
              <a:buClrTx/>
              <a:buSzTx/>
              <a:buFont typeface="Arial"/>
              <a:buNone/>
              <a:tabLst/>
              <a:defRPr/>
            </a:pPr>
            <a:r>
              <a:rPr kumimoji="0" lang="en-US" sz="10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Select an inhouse person to run the KPI program , with inhouse expertise teams will fall into place </a:t>
            </a:r>
          </a:p>
        </p:txBody>
      </p:sp>
      <p:sp>
        <p:nvSpPr>
          <p:cNvPr id="49" name="TextBox 48">
            <a:extLst>
              <a:ext uri="{FF2B5EF4-FFF2-40B4-BE49-F238E27FC236}">
                <a16:creationId xmlns:a16="http://schemas.microsoft.com/office/drawing/2014/main" id="{03255090-5ED6-7A44-B1DF-80460F0F762E}"/>
              </a:ext>
            </a:extLst>
          </p:cNvPr>
          <p:cNvSpPr txBox="1"/>
          <p:nvPr/>
        </p:nvSpPr>
        <p:spPr>
          <a:xfrm>
            <a:off x="3051302" y="4224193"/>
            <a:ext cx="1755609" cy="461665"/>
          </a:xfrm>
          <a:prstGeom prst="rect">
            <a:avLst/>
          </a:prstGeom>
          <a:noFill/>
        </p:spPr>
        <p:txBody>
          <a:bodyPr wrap="none" rtlCol="0" anchor="b"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Organizational</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Critical Success Factors</a:t>
            </a:r>
          </a:p>
        </p:txBody>
      </p:sp>
      <p:sp>
        <p:nvSpPr>
          <p:cNvPr id="50" name="Subtitle 2">
            <a:extLst>
              <a:ext uri="{FF2B5EF4-FFF2-40B4-BE49-F238E27FC236}">
                <a16:creationId xmlns:a16="http://schemas.microsoft.com/office/drawing/2014/main" id="{6E35D3DC-D963-9546-B24C-F5E7AB91E759}"/>
              </a:ext>
            </a:extLst>
          </p:cNvPr>
          <p:cNvSpPr txBox="1">
            <a:spLocks/>
          </p:cNvSpPr>
          <p:nvPr/>
        </p:nvSpPr>
        <p:spPr>
          <a:xfrm>
            <a:off x="3055043" y="4769757"/>
            <a:ext cx="1820532" cy="60420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543818" rtl="0" eaLnBrk="1" fontAlgn="auto" latinLnBrk="0" hangingPunct="1">
              <a:lnSpc>
                <a:spcPts val="1500"/>
              </a:lnSpc>
              <a:spcBef>
                <a:spcPct val="20000"/>
              </a:spcBef>
              <a:spcAft>
                <a:spcPts val="0"/>
              </a:spcAft>
              <a:buClrTx/>
              <a:buSzTx/>
              <a:buFont typeface="Arial"/>
              <a:buNone/>
              <a:tabLst/>
              <a:defRPr/>
            </a:pPr>
            <a:r>
              <a:rPr kumimoji="0" lang="en-US" sz="10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CSF is mostly issues operationalized and  the origin of all performance measures . </a:t>
            </a:r>
          </a:p>
        </p:txBody>
      </p:sp>
      <p:sp>
        <p:nvSpPr>
          <p:cNvPr id="51" name="TextBox 50">
            <a:extLst>
              <a:ext uri="{FF2B5EF4-FFF2-40B4-BE49-F238E27FC236}">
                <a16:creationId xmlns:a16="http://schemas.microsoft.com/office/drawing/2014/main" id="{9321B6D5-D8DB-CC49-9AE7-72A25C4C6866}"/>
              </a:ext>
            </a:extLst>
          </p:cNvPr>
          <p:cNvSpPr txBox="1"/>
          <p:nvPr/>
        </p:nvSpPr>
        <p:spPr>
          <a:xfrm>
            <a:off x="7340754" y="3721724"/>
            <a:ext cx="1747594" cy="307777"/>
          </a:xfrm>
          <a:prstGeom prst="rect">
            <a:avLst/>
          </a:prstGeom>
          <a:noFill/>
        </p:spPr>
        <p:txBody>
          <a:bodyPr wrap="none" rtlCol="0" anchor="b"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Measures that work </a:t>
            </a:r>
          </a:p>
        </p:txBody>
      </p:sp>
      <p:sp>
        <p:nvSpPr>
          <p:cNvPr id="52" name="Subtitle 2">
            <a:extLst>
              <a:ext uri="{FF2B5EF4-FFF2-40B4-BE49-F238E27FC236}">
                <a16:creationId xmlns:a16="http://schemas.microsoft.com/office/drawing/2014/main" id="{CE9D3ABE-2C92-6649-91D0-5CE43D80ACCA}"/>
              </a:ext>
            </a:extLst>
          </p:cNvPr>
          <p:cNvSpPr txBox="1">
            <a:spLocks/>
          </p:cNvSpPr>
          <p:nvPr/>
        </p:nvSpPr>
        <p:spPr>
          <a:xfrm>
            <a:off x="7296864" y="4196084"/>
            <a:ext cx="1820532" cy="60420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500"/>
              </a:lnSpc>
              <a:spcBef>
                <a:spcPct val="20000"/>
              </a:spcBef>
              <a:spcAft>
                <a:spcPts val="0"/>
              </a:spcAft>
              <a:buClrTx/>
              <a:buSzTx/>
              <a:buFont typeface="Arial"/>
              <a:buNone/>
              <a:tabLst/>
              <a:defRPr/>
            </a:pPr>
            <a:r>
              <a:rPr kumimoji="0" lang="en-US" sz="10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Find measures that create the appropriate behavioral response </a:t>
            </a:r>
          </a:p>
        </p:txBody>
      </p:sp>
      <p:sp>
        <p:nvSpPr>
          <p:cNvPr id="53" name="TextBox 52">
            <a:extLst>
              <a:ext uri="{FF2B5EF4-FFF2-40B4-BE49-F238E27FC236}">
                <a16:creationId xmlns:a16="http://schemas.microsoft.com/office/drawing/2014/main" id="{BE56B1F0-E83E-C542-BAB3-75795F1C73CA}"/>
              </a:ext>
            </a:extLst>
          </p:cNvPr>
          <p:cNvSpPr txBox="1"/>
          <p:nvPr/>
        </p:nvSpPr>
        <p:spPr>
          <a:xfrm>
            <a:off x="7437236" y="1935530"/>
            <a:ext cx="1527982" cy="307777"/>
          </a:xfrm>
          <a:prstGeom prst="rect">
            <a:avLst/>
          </a:prstGeom>
          <a:noFill/>
        </p:spPr>
        <p:txBody>
          <a:bodyPr wrap="none" rtlCol="0" anchor="b"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Leading &amp; Selling </a:t>
            </a:r>
          </a:p>
        </p:txBody>
      </p:sp>
      <p:sp>
        <p:nvSpPr>
          <p:cNvPr id="54" name="Subtitle 2">
            <a:extLst>
              <a:ext uri="{FF2B5EF4-FFF2-40B4-BE49-F238E27FC236}">
                <a16:creationId xmlns:a16="http://schemas.microsoft.com/office/drawing/2014/main" id="{E03F02A9-DE8F-AD44-B3AD-0E6F0FB8760B}"/>
              </a:ext>
            </a:extLst>
          </p:cNvPr>
          <p:cNvSpPr txBox="1">
            <a:spLocks/>
          </p:cNvSpPr>
          <p:nvPr/>
        </p:nvSpPr>
        <p:spPr>
          <a:xfrm>
            <a:off x="7296864" y="2512343"/>
            <a:ext cx="1820532" cy="60420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500"/>
              </a:lnSpc>
              <a:spcBef>
                <a:spcPct val="20000"/>
              </a:spcBef>
              <a:spcAft>
                <a:spcPts val="0"/>
              </a:spcAft>
              <a:buClrTx/>
              <a:buSzTx/>
              <a:buFont typeface="Arial"/>
              <a:buNone/>
              <a:tabLst/>
              <a:defRPr/>
            </a:pPr>
            <a:r>
              <a:rPr kumimoji="0" lang="en-US" sz="10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Lead &amp; Sell by emotional drivers of your audience , this is the most critical factor.</a:t>
            </a:r>
          </a:p>
        </p:txBody>
      </p:sp>
      <p:sp>
        <p:nvSpPr>
          <p:cNvPr id="55" name="Freeform 716">
            <a:extLst>
              <a:ext uri="{FF2B5EF4-FFF2-40B4-BE49-F238E27FC236}">
                <a16:creationId xmlns:a16="http://schemas.microsoft.com/office/drawing/2014/main" id="{469F3BD0-B420-8A41-8F07-B7A41C2DAFB1}"/>
              </a:ext>
            </a:extLst>
          </p:cNvPr>
          <p:cNvSpPr>
            <a:spLocks noChangeArrowheads="1"/>
          </p:cNvSpPr>
          <p:nvPr/>
        </p:nvSpPr>
        <p:spPr bwMode="auto">
          <a:xfrm>
            <a:off x="5248908" y="2607115"/>
            <a:ext cx="283047" cy="358404"/>
          </a:xfrm>
          <a:custGeom>
            <a:avLst/>
            <a:gdLst/>
            <a:ahLst/>
            <a:cxnLst/>
            <a:rect l="0" t="0" r="r" b="b"/>
            <a:pathLst>
              <a:path w="244116" h="309204">
                <a:moveTo>
                  <a:pt x="137140" y="139256"/>
                </a:moveTo>
                <a:cubicBezTo>
                  <a:pt x="119238" y="139256"/>
                  <a:pt x="104559" y="154512"/>
                  <a:pt x="104559" y="172674"/>
                </a:cubicBezTo>
                <a:cubicBezTo>
                  <a:pt x="104559" y="190836"/>
                  <a:pt x="119238" y="205729"/>
                  <a:pt x="137140" y="205729"/>
                </a:cubicBezTo>
                <a:cubicBezTo>
                  <a:pt x="155400" y="205729"/>
                  <a:pt x="169721" y="190836"/>
                  <a:pt x="169721" y="172674"/>
                </a:cubicBezTo>
                <a:cubicBezTo>
                  <a:pt x="169721" y="154512"/>
                  <a:pt x="155400" y="139256"/>
                  <a:pt x="137140" y="139256"/>
                </a:cubicBezTo>
                <a:close/>
                <a:moveTo>
                  <a:pt x="137140" y="130175"/>
                </a:moveTo>
                <a:cubicBezTo>
                  <a:pt x="160412" y="130175"/>
                  <a:pt x="179030" y="149427"/>
                  <a:pt x="179030" y="172674"/>
                </a:cubicBezTo>
                <a:cubicBezTo>
                  <a:pt x="179030" y="196285"/>
                  <a:pt x="160412" y="215537"/>
                  <a:pt x="137140" y="215537"/>
                </a:cubicBezTo>
                <a:cubicBezTo>
                  <a:pt x="113868" y="215537"/>
                  <a:pt x="95250" y="196285"/>
                  <a:pt x="95250" y="172674"/>
                </a:cubicBezTo>
                <a:cubicBezTo>
                  <a:pt x="95250" y="149427"/>
                  <a:pt x="113868" y="130175"/>
                  <a:pt x="137140" y="130175"/>
                </a:cubicBezTo>
                <a:close/>
                <a:moveTo>
                  <a:pt x="138312" y="107745"/>
                </a:moveTo>
                <a:cubicBezTo>
                  <a:pt x="102551" y="107745"/>
                  <a:pt x="73652" y="136423"/>
                  <a:pt x="73652" y="171911"/>
                </a:cubicBezTo>
                <a:cubicBezTo>
                  <a:pt x="73652" y="183740"/>
                  <a:pt x="76903" y="195211"/>
                  <a:pt x="83405" y="205249"/>
                </a:cubicBezTo>
                <a:cubicBezTo>
                  <a:pt x="84128" y="207399"/>
                  <a:pt x="84128" y="209550"/>
                  <a:pt x="82683" y="210984"/>
                </a:cubicBezTo>
                <a:lnTo>
                  <a:pt x="45477" y="247906"/>
                </a:lnTo>
                <a:cubicBezTo>
                  <a:pt x="41864" y="251491"/>
                  <a:pt x="41864" y="256868"/>
                  <a:pt x="45477" y="260094"/>
                </a:cubicBezTo>
                <a:lnTo>
                  <a:pt x="49450" y="264037"/>
                </a:lnTo>
                <a:cubicBezTo>
                  <a:pt x="52701" y="267263"/>
                  <a:pt x="58481" y="267263"/>
                  <a:pt x="61732" y="264037"/>
                </a:cubicBezTo>
                <a:lnTo>
                  <a:pt x="98577" y="227115"/>
                </a:lnTo>
                <a:cubicBezTo>
                  <a:pt x="100383" y="226040"/>
                  <a:pt x="102551" y="225323"/>
                  <a:pt x="104718" y="226757"/>
                </a:cubicBezTo>
                <a:cubicBezTo>
                  <a:pt x="114832" y="232851"/>
                  <a:pt x="126392" y="236077"/>
                  <a:pt x="138312" y="236077"/>
                </a:cubicBezTo>
                <a:cubicBezTo>
                  <a:pt x="174074" y="236077"/>
                  <a:pt x="202972" y="207399"/>
                  <a:pt x="202972" y="171911"/>
                </a:cubicBezTo>
                <a:cubicBezTo>
                  <a:pt x="202972" y="136423"/>
                  <a:pt x="174074" y="107745"/>
                  <a:pt x="138312" y="107745"/>
                </a:cubicBezTo>
                <a:close/>
                <a:moveTo>
                  <a:pt x="138312" y="98425"/>
                </a:moveTo>
                <a:cubicBezTo>
                  <a:pt x="179492" y="98425"/>
                  <a:pt x="212364" y="131404"/>
                  <a:pt x="212364" y="171911"/>
                </a:cubicBezTo>
                <a:cubicBezTo>
                  <a:pt x="212364" y="212418"/>
                  <a:pt x="179492" y="245397"/>
                  <a:pt x="138312" y="245397"/>
                </a:cubicBezTo>
                <a:cubicBezTo>
                  <a:pt x="126030" y="245397"/>
                  <a:pt x="113749" y="242171"/>
                  <a:pt x="102912" y="236435"/>
                </a:cubicBezTo>
                <a:lnTo>
                  <a:pt x="68234" y="270490"/>
                </a:lnTo>
                <a:cubicBezTo>
                  <a:pt x="64983" y="274074"/>
                  <a:pt x="60287" y="275867"/>
                  <a:pt x="55591" y="275867"/>
                </a:cubicBezTo>
                <a:cubicBezTo>
                  <a:pt x="50895" y="275867"/>
                  <a:pt x="46199" y="274074"/>
                  <a:pt x="42587" y="270490"/>
                </a:cubicBezTo>
                <a:lnTo>
                  <a:pt x="38974" y="266547"/>
                </a:lnTo>
                <a:cubicBezTo>
                  <a:pt x="31750" y="259736"/>
                  <a:pt x="31750" y="248265"/>
                  <a:pt x="38974" y="241095"/>
                </a:cubicBezTo>
                <a:lnTo>
                  <a:pt x="73291" y="207041"/>
                </a:lnTo>
                <a:cubicBezTo>
                  <a:pt x="67150" y="196287"/>
                  <a:pt x="64260" y="184099"/>
                  <a:pt x="64260" y="171911"/>
                </a:cubicBezTo>
                <a:cubicBezTo>
                  <a:pt x="64260" y="131404"/>
                  <a:pt x="97493" y="98425"/>
                  <a:pt x="138312" y="98425"/>
                </a:cubicBezTo>
                <a:close/>
                <a:moveTo>
                  <a:pt x="9707" y="74784"/>
                </a:moveTo>
                <a:lnTo>
                  <a:pt x="9707" y="299856"/>
                </a:lnTo>
                <a:lnTo>
                  <a:pt x="84488" y="299856"/>
                </a:lnTo>
                <a:lnTo>
                  <a:pt x="84488" y="270373"/>
                </a:lnTo>
                <a:cubicBezTo>
                  <a:pt x="84488" y="267497"/>
                  <a:pt x="86645" y="265699"/>
                  <a:pt x="89161" y="265699"/>
                </a:cubicBezTo>
                <a:cubicBezTo>
                  <a:pt x="92038" y="265699"/>
                  <a:pt x="93835" y="267497"/>
                  <a:pt x="93835" y="270373"/>
                </a:cubicBezTo>
                <a:lnTo>
                  <a:pt x="93835" y="299856"/>
                </a:lnTo>
                <a:lnTo>
                  <a:pt x="150280" y="299856"/>
                </a:lnTo>
                <a:lnTo>
                  <a:pt x="150280" y="260306"/>
                </a:lnTo>
                <a:cubicBezTo>
                  <a:pt x="150280" y="257790"/>
                  <a:pt x="152437" y="255632"/>
                  <a:pt x="154954" y="255632"/>
                </a:cubicBezTo>
                <a:cubicBezTo>
                  <a:pt x="157471" y="255632"/>
                  <a:pt x="159628" y="257790"/>
                  <a:pt x="159628" y="260306"/>
                </a:cubicBezTo>
                <a:lnTo>
                  <a:pt x="159628" y="299856"/>
                </a:lnTo>
                <a:lnTo>
                  <a:pt x="234408" y="299856"/>
                </a:lnTo>
                <a:lnTo>
                  <a:pt x="234408" y="74784"/>
                </a:lnTo>
                <a:lnTo>
                  <a:pt x="159628" y="74784"/>
                </a:lnTo>
                <a:lnTo>
                  <a:pt x="159628" y="84851"/>
                </a:lnTo>
                <a:cubicBezTo>
                  <a:pt x="159628" y="87727"/>
                  <a:pt x="157471" y="89525"/>
                  <a:pt x="154954" y="89525"/>
                </a:cubicBezTo>
                <a:cubicBezTo>
                  <a:pt x="152437" y="89525"/>
                  <a:pt x="150280" y="87727"/>
                  <a:pt x="150280" y="84851"/>
                </a:cubicBezTo>
                <a:lnTo>
                  <a:pt x="150280" y="74784"/>
                </a:lnTo>
                <a:lnTo>
                  <a:pt x="93835" y="74784"/>
                </a:lnTo>
                <a:lnTo>
                  <a:pt x="93835" y="96356"/>
                </a:lnTo>
                <a:cubicBezTo>
                  <a:pt x="93835" y="98873"/>
                  <a:pt x="92038" y="101030"/>
                  <a:pt x="89161" y="101030"/>
                </a:cubicBezTo>
                <a:cubicBezTo>
                  <a:pt x="86645" y="101030"/>
                  <a:pt x="84488" y="98873"/>
                  <a:pt x="84488" y="96356"/>
                </a:cubicBezTo>
                <a:lnTo>
                  <a:pt x="84488" y="74784"/>
                </a:lnTo>
                <a:lnTo>
                  <a:pt x="9707" y="74784"/>
                </a:lnTo>
                <a:close/>
                <a:moveTo>
                  <a:pt x="148842" y="9348"/>
                </a:moveTo>
                <a:lnTo>
                  <a:pt x="158909" y="65795"/>
                </a:lnTo>
                <a:lnTo>
                  <a:pt x="230813" y="65795"/>
                </a:lnTo>
                <a:lnTo>
                  <a:pt x="194502" y="9348"/>
                </a:lnTo>
                <a:lnTo>
                  <a:pt x="148842" y="9348"/>
                </a:lnTo>
                <a:close/>
                <a:moveTo>
                  <a:pt x="104981" y="9348"/>
                </a:moveTo>
                <a:lnTo>
                  <a:pt x="94914" y="65795"/>
                </a:lnTo>
                <a:lnTo>
                  <a:pt x="149202" y="65795"/>
                </a:lnTo>
                <a:lnTo>
                  <a:pt x="139135" y="9348"/>
                </a:lnTo>
                <a:lnTo>
                  <a:pt x="104981" y="9348"/>
                </a:lnTo>
                <a:close/>
                <a:moveTo>
                  <a:pt x="49614" y="9348"/>
                </a:moveTo>
                <a:lnTo>
                  <a:pt x="13302" y="65795"/>
                </a:lnTo>
                <a:lnTo>
                  <a:pt x="85566" y="65795"/>
                </a:lnTo>
                <a:lnTo>
                  <a:pt x="95633" y="9348"/>
                </a:lnTo>
                <a:lnTo>
                  <a:pt x="49614" y="9348"/>
                </a:lnTo>
                <a:close/>
                <a:moveTo>
                  <a:pt x="47097" y="0"/>
                </a:moveTo>
                <a:lnTo>
                  <a:pt x="101026" y="0"/>
                </a:lnTo>
                <a:lnTo>
                  <a:pt x="143090" y="0"/>
                </a:lnTo>
                <a:lnTo>
                  <a:pt x="197018" y="0"/>
                </a:lnTo>
                <a:cubicBezTo>
                  <a:pt x="198456" y="0"/>
                  <a:pt x="200254" y="719"/>
                  <a:pt x="200973" y="2157"/>
                </a:cubicBezTo>
                <a:lnTo>
                  <a:pt x="243037" y="67593"/>
                </a:lnTo>
                <a:cubicBezTo>
                  <a:pt x="243397" y="67953"/>
                  <a:pt x="243397" y="68312"/>
                  <a:pt x="243397" y="68312"/>
                </a:cubicBezTo>
                <a:cubicBezTo>
                  <a:pt x="243756" y="68312"/>
                  <a:pt x="243756" y="68672"/>
                  <a:pt x="243756" y="68672"/>
                </a:cubicBezTo>
                <a:cubicBezTo>
                  <a:pt x="243756" y="69391"/>
                  <a:pt x="244116" y="69750"/>
                  <a:pt x="244116" y="70110"/>
                </a:cubicBezTo>
                <a:lnTo>
                  <a:pt x="244116" y="304530"/>
                </a:lnTo>
                <a:cubicBezTo>
                  <a:pt x="244116" y="307046"/>
                  <a:pt x="241958" y="309204"/>
                  <a:pt x="239442" y="309204"/>
                </a:cubicBezTo>
                <a:lnTo>
                  <a:pt x="154954" y="309204"/>
                </a:lnTo>
                <a:lnTo>
                  <a:pt x="89161" y="309204"/>
                </a:lnTo>
                <a:lnTo>
                  <a:pt x="5033" y="309204"/>
                </a:lnTo>
                <a:cubicBezTo>
                  <a:pt x="2157" y="309204"/>
                  <a:pt x="0" y="307046"/>
                  <a:pt x="0" y="304530"/>
                </a:cubicBezTo>
                <a:lnTo>
                  <a:pt x="0" y="70110"/>
                </a:lnTo>
                <a:lnTo>
                  <a:pt x="359" y="70110"/>
                </a:lnTo>
                <a:cubicBezTo>
                  <a:pt x="359" y="69750"/>
                  <a:pt x="359" y="69391"/>
                  <a:pt x="359" y="68672"/>
                </a:cubicBezTo>
                <a:lnTo>
                  <a:pt x="719" y="68312"/>
                </a:lnTo>
                <a:cubicBezTo>
                  <a:pt x="719" y="68312"/>
                  <a:pt x="1079" y="67953"/>
                  <a:pt x="1079" y="67593"/>
                </a:cubicBezTo>
                <a:lnTo>
                  <a:pt x="43143" y="2157"/>
                </a:lnTo>
                <a:cubicBezTo>
                  <a:pt x="43862" y="719"/>
                  <a:pt x="45659" y="0"/>
                  <a:pt x="47097" y="0"/>
                </a:cubicBezTo>
                <a:close/>
              </a:path>
            </a:pathLst>
          </a:custGeom>
          <a:solidFill>
            <a:schemeClr val="bg1"/>
          </a:solidFill>
          <a:ln>
            <a:noFill/>
          </a:ln>
          <a:effectLst/>
        </p:spPr>
        <p:txBody>
          <a:bodyPr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56" name="Freeform 715">
            <a:extLst>
              <a:ext uri="{FF2B5EF4-FFF2-40B4-BE49-F238E27FC236}">
                <a16:creationId xmlns:a16="http://schemas.microsoft.com/office/drawing/2014/main" id="{96AE463B-17A0-B045-AE58-93050A607DC4}"/>
              </a:ext>
            </a:extLst>
          </p:cNvPr>
          <p:cNvSpPr>
            <a:spLocks noChangeArrowheads="1"/>
          </p:cNvSpPr>
          <p:nvPr/>
        </p:nvSpPr>
        <p:spPr bwMode="auto">
          <a:xfrm>
            <a:off x="6633377" y="3426561"/>
            <a:ext cx="358402" cy="358403"/>
          </a:xfrm>
          <a:custGeom>
            <a:avLst/>
            <a:gdLst/>
            <a:ahLst/>
            <a:cxnLst/>
            <a:rect l="0" t="0" r="r" b="b"/>
            <a:pathLst>
              <a:path w="309203" h="309204">
                <a:moveTo>
                  <a:pt x="39549" y="222656"/>
                </a:moveTo>
                <a:lnTo>
                  <a:pt x="9348" y="252822"/>
                </a:lnTo>
                <a:lnTo>
                  <a:pt x="9348" y="280833"/>
                </a:lnTo>
                <a:cubicBezTo>
                  <a:pt x="9348" y="291248"/>
                  <a:pt x="17977" y="299508"/>
                  <a:pt x="28044" y="299508"/>
                </a:cubicBezTo>
                <a:lnTo>
                  <a:pt x="116850" y="299508"/>
                </a:lnTo>
                <a:lnTo>
                  <a:pt x="39549" y="222656"/>
                </a:lnTo>
                <a:close/>
                <a:moveTo>
                  <a:pt x="110378" y="152268"/>
                </a:moveTo>
                <a:lnTo>
                  <a:pt x="46380" y="216191"/>
                </a:lnTo>
                <a:lnTo>
                  <a:pt x="130153" y="299508"/>
                </a:lnTo>
                <a:lnTo>
                  <a:pt x="159635" y="299508"/>
                </a:lnTo>
                <a:lnTo>
                  <a:pt x="208891" y="251026"/>
                </a:lnTo>
                <a:lnTo>
                  <a:pt x="143815" y="186025"/>
                </a:lnTo>
                <a:lnTo>
                  <a:pt x="110378" y="152268"/>
                </a:lnTo>
                <a:close/>
                <a:moveTo>
                  <a:pt x="9348" y="51714"/>
                </a:moveTo>
                <a:lnTo>
                  <a:pt x="9348" y="239534"/>
                </a:lnTo>
                <a:lnTo>
                  <a:pt x="36313" y="212600"/>
                </a:lnTo>
                <a:lnTo>
                  <a:pt x="103547" y="145804"/>
                </a:lnTo>
                <a:lnTo>
                  <a:pt x="55009" y="96963"/>
                </a:lnTo>
                <a:lnTo>
                  <a:pt x="9348" y="51714"/>
                </a:lnTo>
                <a:close/>
                <a:moveTo>
                  <a:pt x="244294" y="42760"/>
                </a:moveTo>
                <a:cubicBezTo>
                  <a:pt x="231320" y="42760"/>
                  <a:pt x="220508" y="53268"/>
                  <a:pt x="220508" y="66676"/>
                </a:cubicBezTo>
                <a:cubicBezTo>
                  <a:pt x="220508" y="79721"/>
                  <a:pt x="231320" y="90592"/>
                  <a:pt x="244294" y="90592"/>
                </a:cubicBezTo>
                <a:cubicBezTo>
                  <a:pt x="257269" y="90592"/>
                  <a:pt x="268081" y="79721"/>
                  <a:pt x="268081" y="66676"/>
                </a:cubicBezTo>
                <a:cubicBezTo>
                  <a:pt x="268081" y="53268"/>
                  <a:pt x="257269" y="42760"/>
                  <a:pt x="244294" y="42760"/>
                </a:cubicBezTo>
                <a:close/>
                <a:moveTo>
                  <a:pt x="244294" y="33338"/>
                </a:moveTo>
                <a:cubicBezTo>
                  <a:pt x="262315" y="33338"/>
                  <a:pt x="277452" y="48195"/>
                  <a:pt x="277452" y="66676"/>
                </a:cubicBezTo>
                <a:cubicBezTo>
                  <a:pt x="277452" y="84794"/>
                  <a:pt x="262315" y="99651"/>
                  <a:pt x="244294" y="99651"/>
                </a:cubicBezTo>
                <a:cubicBezTo>
                  <a:pt x="225914" y="99651"/>
                  <a:pt x="211137" y="84794"/>
                  <a:pt x="211137" y="66676"/>
                </a:cubicBezTo>
                <a:cubicBezTo>
                  <a:pt x="211137" y="48195"/>
                  <a:pt x="225914" y="33338"/>
                  <a:pt x="244294" y="33338"/>
                </a:cubicBezTo>
                <a:close/>
                <a:moveTo>
                  <a:pt x="243681" y="9375"/>
                </a:moveTo>
                <a:cubicBezTo>
                  <a:pt x="212361" y="9375"/>
                  <a:pt x="187160" y="34975"/>
                  <a:pt x="187160" y="65984"/>
                </a:cubicBezTo>
                <a:cubicBezTo>
                  <a:pt x="187160" y="87618"/>
                  <a:pt x="200120" y="107810"/>
                  <a:pt x="220281" y="117185"/>
                </a:cubicBezTo>
                <a:cubicBezTo>
                  <a:pt x="221361" y="117545"/>
                  <a:pt x="222081" y="118988"/>
                  <a:pt x="222801" y="120069"/>
                </a:cubicBezTo>
                <a:lnTo>
                  <a:pt x="243681" y="204082"/>
                </a:lnTo>
                <a:lnTo>
                  <a:pt x="264561" y="120069"/>
                </a:lnTo>
                <a:cubicBezTo>
                  <a:pt x="264921" y="118988"/>
                  <a:pt x="266001" y="117545"/>
                  <a:pt x="267441" y="117185"/>
                </a:cubicBezTo>
                <a:cubicBezTo>
                  <a:pt x="287242" y="107810"/>
                  <a:pt x="300202" y="87618"/>
                  <a:pt x="300202" y="65984"/>
                </a:cubicBezTo>
                <a:cubicBezTo>
                  <a:pt x="300202" y="34975"/>
                  <a:pt x="274642" y="9375"/>
                  <a:pt x="243681" y="9375"/>
                </a:cubicBezTo>
                <a:close/>
                <a:moveTo>
                  <a:pt x="28044" y="9337"/>
                </a:moveTo>
                <a:cubicBezTo>
                  <a:pt x="17977" y="9337"/>
                  <a:pt x="9348" y="17956"/>
                  <a:pt x="9348" y="28011"/>
                </a:cubicBezTo>
                <a:lnTo>
                  <a:pt x="9348" y="38426"/>
                </a:lnTo>
                <a:lnTo>
                  <a:pt x="58245" y="87267"/>
                </a:lnTo>
                <a:lnTo>
                  <a:pt x="136265" y="9337"/>
                </a:lnTo>
                <a:lnTo>
                  <a:pt x="28044" y="9337"/>
                </a:lnTo>
                <a:close/>
                <a:moveTo>
                  <a:pt x="243681" y="0"/>
                </a:moveTo>
                <a:cubicBezTo>
                  <a:pt x="280042" y="0"/>
                  <a:pt x="309202" y="29566"/>
                  <a:pt x="309202" y="65984"/>
                </a:cubicBezTo>
                <a:cubicBezTo>
                  <a:pt x="309202" y="90863"/>
                  <a:pt x="295162" y="113579"/>
                  <a:pt x="273202" y="124757"/>
                </a:cubicBezTo>
                <a:lnTo>
                  <a:pt x="248361" y="224634"/>
                </a:lnTo>
                <a:cubicBezTo>
                  <a:pt x="247641" y="226797"/>
                  <a:pt x="245841" y="228240"/>
                  <a:pt x="243681" y="228240"/>
                </a:cubicBezTo>
                <a:cubicBezTo>
                  <a:pt x="241521" y="228240"/>
                  <a:pt x="239361" y="226797"/>
                  <a:pt x="239001" y="224634"/>
                </a:cubicBezTo>
                <a:lnTo>
                  <a:pt x="213801" y="124757"/>
                </a:lnTo>
                <a:cubicBezTo>
                  <a:pt x="191840" y="113579"/>
                  <a:pt x="177800" y="90863"/>
                  <a:pt x="177800" y="65984"/>
                </a:cubicBezTo>
                <a:cubicBezTo>
                  <a:pt x="177800" y="29566"/>
                  <a:pt x="207320" y="0"/>
                  <a:pt x="243681" y="0"/>
                </a:cubicBezTo>
                <a:close/>
                <a:moveTo>
                  <a:pt x="28044" y="0"/>
                </a:moveTo>
                <a:lnTo>
                  <a:pt x="183005" y="0"/>
                </a:lnTo>
                <a:cubicBezTo>
                  <a:pt x="185162" y="0"/>
                  <a:pt x="187319" y="2155"/>
                  <a:pt x="187319" y="4668"/>
                </a:cubicBezTo>
                <a:cubicBezTo>
                  <a:pt x="187319" y="7182"/>
                  <a:pt x="185162" y="9337"/>
                  <a:pt x="183005" y="9337"/>
                </a:cubicBezTo>
                <a:lnTo>
                  <a:pt x="149568" y="9337"/>
                </a:lnTo>
                <a:lnTo>
                  <a:pt x="64717" y="94090"/>
                </a:lnTo>
                <a:lnTo>
                  <a:pt x="147051" y="176329"/>
                </a:lnTo>
                <a:lnTo>
                  <a:pt x="191274" y="132157"/>
                </a:lnTo>
                <a:cubicBezTo>
                  <a:pt x="193072" y="130361"/>
                  <a:pt x="195948" y="130361"/>
                  <a:pt x="198105" y="132157"/>
                </a:cubicBezTo>
                <a:cubicBezTo>
                  <a:pt x="199543" y="133953"/>
                  <a:pt x="199543" y="136826"/>
                  <a:pt x="198105" y="138621"/>
                </a:cubicBezTo>
                <a:lnTo>
                  <a:pt x="153882" y="182793"/>
                </a:lnTo>
                <a:lnTo>
                  <a:pt x="215363" y="244203"/>
                </a:lnTo>
                <a:lnTo>
                  <a:pt x="222194" y="237380"/>
                </a:lnTo>
                <a:cubicBezTo>
                  <a:pt x="223992" y="235584"/>
                  <a:pt x="226868" y="235584"/>
                  <a:pt x="228666" y="237380"/>
                </a:cubicBezTo>
                <a:cubicBezTo>
                  <a:pt x="230823" y="239175"/>
                  <a:pt x="230823" y="242407"/>
                  <a:pt x="228666" y="243844"/>
                </a:cubicBezTo>
                <a:lnTo>
                  <a:pt x="218599" y="254258"/>
                </a:lnTo>
                <a:lnTo>
                  <a:pt x="173297" y="299508"/>
                </a:lnTo>
                <a:lnTo>
                  <a:pt x="281159" y="299508"/>
                </a:lnTo>
                <a:cubicBezTo>
                  <a:pt x="291585" y="299508"/>
                  <a:pt x="300214" y="291248"/>
                  <a:pt x="300214" y="280833"/>
                </a:cubicBezTo>
                <a:lnTo>
                  <a:pt x="300214" y="173097"/>
                </a:lnTo>
                <a:lnTo>
                  <a:pt x="275766" y="197158"/>
                </a:lnTo>
                <a:cubicBezTo>
                  <a:pt x="274687" y="198235"/>
                  <a:pt x="273608" y="198594"/>
                  <a:pt x="272170" y="198594"/>
                </a:cubicBezTo>
                <a:cubicBezTo>
                  <a:pt x="271092" y="198594"/>
                  <a:pt x="270013" y="198235"/>
                  <a:pt x="268934" y="197158"/>
                </a:cubicBezTo>
                <a:cubicBezTo>
                  <a:pt x="267496" y="195362"/>
                  <a:pt x="267496" y="192489"/>
                  <a:pt x="268934" y="190694"/>
                </a:cubicBezTo>
                <a:lnTo>
                  <a:pt x="300214" y="159809"/>
                </a:lnTo>
                <a:lnTo>
                  <a:pt x="300214" y="126411"/>
                </a:lnTo>
                <a:cubicBezTo>
                  <a:pt x="300214" y="123897"/>
                  <a:pt x="302012" y="121742"/>
                  <a:pt x="304529" y="121742"/>
                </a:cubicBezTo>
                <a:cubicBezTo>
                  <a:pt x="307405" y="121742"/>
                  <a:pt x="309203" y="123897"/>
                  <a:pt x="309203" y="126411"/>
                </a:cubicBezTo>
                <a:lnTo>
                  <a:pt x="309203" y="280833"/>
                </a:lnTo>
                <a:cubicBezTo>
                  <a:pt x="309203" y="296276"/>
                  <a:pt x="296978" y="309204"/>
                  <a:pt x="281159" y="309204"/>
                </a:cubicBezTo>
                <a:lnTo>
                  <a:pt x="28044" y="309204"/>
                </a:lnTo>
                <a:cubicBezTo>
                  <a:pt x="12584" y="309204"/>
                  <a:pt x="0" y="296276"/>
                  <a:pt x="0" y="280833"/>
                </a:cubicBezTo>
                <a:lnTo>
                  <a:pt x="0" y="28011"/>
                </a:lnTo>
                <a:cubicBezTo>
                  <a:pt x="0" y="12569"/>
                  <a:pt x="12584" y="0"/>
                  <a:pt x="28044" y="0"/>
                </a:cubicBezTo>
                <a:close/>
              </a:path>
            </a:pathLst>
          </a:custGeom>
          <a:solidFill>
            <a:schemeClr val="bg1"/>
          </a:solidFill>
          <a:ln>
            <a:noFill/>
          </a:ln>
          <a:effectLst/>
        </p:spPr>
        <p:txBody>
          <a:bodyPr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57" name="Freeform 714">
            <a:extLst>
              <a:ext uri="{FF2B5EF4-FFF2-40B4-BE49-F238E27FC236}">
                <a16:creationId xmlns:a16="http://schemas.microsoft.com/office/drawing/2014/main" id="{E7C9F0CB-625D-2F43-B2F8-7E5A20FDAE9C}"/>
              </a:ext>
            </a:extLst>
          </p:cNvPr>
          <p:cNvSpPr>
            <a:spLocks noChangeArrowheads="1"/>
          </p:cNvSpPr>
          <p:nvPr/>
        </p:nvSpPr>
        <p:spPr bwMode="auto">
          <a:xfrm>
            <a:off x="5222996" y="4202833"/>
            <a:ext cx="332672" cy="358404"/>
          </a:xfrm>
          <a:custGeom>
            <a:avLst/>
            <a:gdLst/>
            <a:ahLst/>
            <a:cxnLst/>
            <a:rect l="0" t="0" r="r" b="b"/>
            <a:pathLst>
              <a:path w="286977" h="309204">
                <a:moveTo>
                  <a:pt x="218899" y="277636"/>
                </a:moveTo>
                <a:cubicBezTo>
                  <a:pt x="220663" y="276225"/>
                  <a:pt x="223485" y="276225"/>
                  <a:pt x="225249" y="277636"/>
                </a:cubicBezTo>
                <a:cubicBezTo>
                  <a:pt x="226308" y="278695"/>
                  <a:pt x="226660" y="279753"/>
                  <a:pt x="226660" y="280811"/>
                </a:cubicBezTo>
                <a:cubicBezTo>
                  <a:pt x="226660" y="281870"/>
                  <a:pt x="226308" y="283281"/>
                  <a:pt x="225249" y="283986"/>
                </a:cubicBezTo>
                <a:cubicBezTo>
                  <a:pt x="224544" y="285045"/>
                  <a:pt x="223133" y="285397"/>
                  <a:pt x="222074" y="285397"/>
                </a:cubicBezTo>
                <a:cubicBezTo>
                  <a:pt x="220663" y="285397"/>
                  <a:pt x="219605" y="285045"/>
                  <a:pt x="218899" y="283986"/>
                </a:cubicBezTo>
                <a:cubicBezTo>
                  <a:pt x="217841" y="283281"/>
                  <a:pt x="217488" y="281870"/>
                  <a:pt x="217488" y="280811"/>
                </a:cubicBezTo>
                <a:cubicBezTo>
                  <a:pt x="217488" y="279753"/>
                  <a:pt x="217841" y="278695"/>
                  <a:pt x="218899" y="277636"/>
                </a:cubicBezTo>
                <a:close/>
                <a:moveTo>
                  <a:pt x="129999" y="277636"/>
                </a:moveTo>
                <a:cubicBezTo>
                  <a:pt x="131763" y="276225"/>
                  <a:pt x="134585" y="276225"/>
                  <a:pt x="136702" y="277636"/>
                </a:cubicBezTo>
                <a:cubicBezTo>
                  <a:pt x="137407" y="278695"/>
                  <a:pt x="137760" y="279753"/>
                  <a:pt x="137760" y="280811"/>
                </a:cubicBezTo>
                <a:cubicBezTo>
                  <a:pt x="137760" y="281870"/>
                  <a:pt x="137407" y="283281"/>
                  <a:pt x="136702" y="283986"/>
                </a:cubicBezTo>
                <a:cubicBezTo>
                  <a:pt x="135643" y="285045"/>
                  <a:pt x="134585" y="285397"/>
                  <a:pt x="133174" y="285397"/>
                </a:cubicBezTo>
                <a:cubicBezTo>
                  <a:pt x="132116" y="285397"/>
                  <a:pt x="130705" y="285045"/>
                  <a:pt x="129999" y="283986"/>
                </a:cubicBezTo>
                <a:cubicBezTo>
                  <a:pt x="129293" y="283281"/>
                  <a:pt x="128588" y="281870"/>
                  <a:pt x="128588" y="280811"/>
                </a:cubicBezTo>
                <a:cubicBezTo>
                  <a:pt x="128588" y="279753"/>
                  <a:pt x="129293" y="278695"/>
                  <a:pt x="129999" y="277636"/>
                </a:cubicBezTo>
                <a:close/>
                <a:moveTo>
                  <a:pt x="177801" y="276225"/>
                </a:moveTo>
                <a:cubicBezTo>
                  <a:pt x="180182" y="276225"/>
                  <a:pt x="182223" y="278342"/>
                  <a:pt x="182223" y="280811"/>
                </a:cubicBezTo>
                <a:cubicBezTo>
                  <a:pt x="182223" y="283633"/>
                  <a:pt x="180182" y="285397"/>
                  <a:pt x="177801" y="285397"/>
                </a:cubicBezTo>
                <a:cubicBezTo>
                  <a:pt x="175079" y="285397"/>
                  <a:pt x="173038" y="283633"/>
                  <a:pt x="173038" y="280811"/>
                </a:cubicBezTo>
                <a:cubicBezTo>
                  <a:pt x="173038" y="278342"/>
                  <a:pt x="175079" y="276225"/>
                  <a:pt x="177801" y="276225"/>
                </a:cubicBezTo>
                <a:close/>
                <a:moveTo>
                  <a:pt x="80137" y="262159"/>
                </a:moveTo>
                <a:lnTo>
                  <a:pt x="80137" y="290530"/>
                </a:lnTo>
                <a:cubicBezTo>
                  <a:pt x="80137" y="295198"/>
                  <a:pt x="84108" y="299508"/>
                  <a:pt x="89522" y="299508"/>
                </a:cubicBezTo>
                <a:lnTo>
                  <a:pt x="268206" y="299508"/>
                </a:lnTo>
                <a:cubicBezTo>
                  <a:pt x="273621" y="299508"/>
                  <a:pt x="277953" y="295198"/>
                  <a:pt x="277953" y="290530"/>
                </a:cubicBezTo>
                <a:lnTo>
                  <a:pt x="277953" y="262159"/>
                </a:lnTo>
                <a:lnTo>
                  <a:pt x="80137" y="262159"/>
                </a:lnTo>
                <a:close/>
                <a:moveTo>
                  <a:pt x="124898" y="156218"/>
                </a:moveTo>
                <a:lnTo>
                  <a:pt x="60644" y="220142"/>
                </a:lnTo>
                <a:lnTo>
                  <a:pt x="188791" y="220142"/>
                </a:lnTo>
                <a:lnTo>
                  <a:pt x="124898" y="156218"/>
                </a:lnTo>
                <a:close/>
                <a:moveTo>
                  <a:pt x="34293" y="131798"/>
                </a:moveTo>
                <a:lnTo>
                  <a:pt x="9746" y="156218"/>
                </a:lnTo>
                <a:lnTo>
                  <a:pt x="9746" y="220142"/>
                </a:lnTo>
                <a:lnTo>
                  <a:pt x="47288" y="220142"/>
                </a:lnTo>
                <a:lnTo>
                  <a:pt x="85191" y="182434"/>
                </a:lnTo>
                <a:lnTo>
                  <a:pt x="34293" y="131798"/>
                </a:lnTo>
                <a:close/>
                <a:moveTo>
                  <a:pt x="186714" y="120366"/>
                </a:moveTo>
                <a:cubicBezTo>
                  <a:pt x="178329" y="120366"/>
                  <a:pt x="171768" y="127119"/>
                  <a:pt x="171768" y="134938"/>
                </a:cubicBezTo>
                <a:cubicBezTo>
                  <a:pt x="171768" y="142757"/>
                  <a:pt x="178329" y="149154"/>
                  <a:pt x="186714" y="149154"/>
                </a:cubicBezTo>
                <a:cubicBezTo>
                  <a:pt x="194734" y="149154"/>
                  <a:pt x="201296" y="142757"/>
                  <a:pt x="201296" y="134938"/>
                </a:cubicBezTo>
                <a:cubicBezTo>
                  <a:pt x="201296" y="127119"/>
                  <a:pt x="194734" y="120366"/>
                  <a:pt x="186714" y="120366"/>
                </a:cubicBezTo>
                <a:close/>
                <a:moveTo>
                  <a:pt x="186714" y="111125"/>
                </a:moveTo>
                <a:cubicBezTo>
                  <a:pt x="199837" y="111125"/>
                  <a:pt x="210774" y="121787"/>
                  <a:pt x="210774" y="134938"/>
                </a:cubicBezTo>
                <a:cubicBezTo>
                  <a:pt x="210774" y="147732"/>
                  <a:pt x="199837" y="158395"/>
                  <a:pt x="186714" y="158395"/>
                </a:cubicBezTo>
                <a:cubicBezTo>
                  <a:pt x="172861" y="158395"/>
                  <a:pt x="161925" y="147732"/>
                  <a:pt x="161925" y="134938"/>
                </a:cubicBezTo>
                <a:cubicBezTo>
                  <a:pt x="161925" y="121787"/>
                  <a:pt x="172861" y="111125"/>
                  <a:pt x="186714" y="111125"/>
                </a:cubicBezTo>
                <a:close/>
                <a:moveTo>
                  <a:pt x="129948" y="71438"/>
                </a:moveTo>
                <a:lnTo>
                  <a:pt x="129948" y="79713"/>
                </a:lnTo>
                <a:lnTo>
                  <a:pt x="249316" y="79713"/>
                </a:lnTo>
                <a:cubicBezTo>
                  <a:pt x="251480" y="79713"/>
                  <a:pt x="253644" y="81512"/>
                  <a:pt x="253644" y="84390"/>
                </a:cubicBezTo>
                <a:lnTo>
                  <a:pt x="253644" y="203119"/>
                </a:lnTo>
                <a:lnTo>
                  <a:pt x="261578" y="203119"/>
                </a:lnTo>
                <a:lnTo>
                  <a:pt x="249316" y="225065"/>
                </a:lnTo>
                <a:lnTo>
                  <a:pt x="236334" y="203119"/>
                </a:lnTo>
                <a:lnTo>
                  <a:pt x="244267" y="203119"/>
                </a:lnTo>
                <a:lnTo>
                  <a:pt x="244267" y="88707"/>
                </a:lnTo>
                <a:lnTo>
                  <a:pt x="129948" y="88707"/>
                </a:lnTo>
                <a:lnTo>
                  <a:pt x="129948" y="96982"/>
                </a:lnTo>
                <a:lnTo>
                  <a:pt x="107950" y="84390"/>
                </a:lnTo>
                <a:lnTo>
                  <a:pt x="129948" y="71438"/>
                </a:lnTo>
                <a:close/>
                <a:moveTo>
                  <a:pt x="80137" y="56023"/>
                </a:moveTo>
                <a:lnTo>
                  <a:pt x="80137" y="79725"/>
                </a:lnTo>
                <a:lnTo>
                  <a:pt x="89522" y="79725"/>
                </a:lnTo>
                <a:cubicBezTo>
                  <a:pt x="92049" y="79725"/>
                  <a:pt x="94215" y="81521"/>
                  <a:pt x="94215" y="84393"/>
                </a:cubicBezTo>
                <a:cubicBezTo>
                  <a:pt x="94215" y="86907"/>
                  <a:pt x="92049" y="88703"/>
                  <a:pt x="89522" y="88703"/>
                </a:cubicBezTo>
                <a:lnTo>
                  <a:pt x="9746" y="88703"/>
                </a:lnTo>
                <a:lnTo>
                  <a:pt x="9746" y="143290"/>
                </a:lnTo>
                <a:lnTo>
                  <a:pt x="30683" y="122102"/>
                </a:lnTo>
                <a:cubicBezTo>
                  <a:pt x="32849" y="119947"/>
                  <a:pt x="35737" y="119947"/>
                  <a:pt x="37542" y="122102"/>
                </a:cubicBezTo>
                <a:lnTo>
                  <a:pt x="91688" y="175611"/>
                </a:lnTo>
                <a:lnTo>
                  <a:pt x="121288" y="146522"/>
                </a:lnTo>
                <a:cubicBezTo>
                  <a:pt x="123093" y="144726"/>
                  <a:pt x="126342" y="144726"/>
                  <a:pt x="128147" y="146522"/>
                </a:cubicBezTo>
                <a:lnTo>
                  <a:pt x="202147" y="220142"/>
                </a:lnTo>
                <a:lnTo>
                  <a:pt x="225972" y="220142"/>
                </a:lnTo>
                <a:cubicBezTo>
                  <a:pt x="228499" y="220142"/>
                  <a:pt x="230665" y="222297"/>
                  <a:pt x="230665" y="224810"/>
                </a:cubicBezTo>
                <a:cubicBezTo>
                  <a:pt x="230665" y="227324"/>
                  <a:pt x="228499" y="229479"/>
                  <a:pt x="225972" y="229479"/>
                </a:cubicBezTo>
                <a:lnTo>
                  <a:pt x="199982" y="229479"/>
                </a:lnTo>
                <a:lnTo>
                  <a:pt x="80137" y="229479"/>
                </a:lnTo>
                <a:lnTo>
                  <a:pt x="80137" y="252822"/>
                </a:lnTo>
                <a:lnTo>
                  <a:pt x="277953" y="252822"/>
                </a:lnTo>
                <a:lnTo>
                  <a:pt x="277953" y="56023"/>
                </a:lnTo>
                <a:lnTo>
                  <a:pt x="80137" y="56023"/>
                </a:lnTo>
                <a:close/>
                <a:moveTo>
                  <a:pt x="157051" y="23813"/>
                </a:moveTo>
                <a:lnTo>
                  <a:pt x="198192" y="23813"/>
                </a:lnTo>
                <a:cubicBezTo>
                  <a:pt x="201054" y="23813"/>
                  <a:pt x="202842" y="25930"/>
                  <a:pt x="202842" y="28399"/>
                </a:cubicBezTo>
                <a:cubicBezTo>
                  <a:pt x="202842" y="30868"/>
                  <a:pt x="201054" y="32985"/>
                  <a:pt x="198192" y="32985"/>
                </a:cubicBezTo>
                <a:lnTo>
                  <a:pt x="157051" y="32985"/>
                </a:lnTo>
                <a:cubicBezTo>
                  <a:pt x="154546" y="32985"/>
                  <a:pt x="152400" y="30868"/>
                  <a:pt x="152400" y="28399"/>
                </a:cubicBezTo>
                <a:cubicBezTo>
                  <a:pt x="152400" y="25930"/>
                  <a:pt x="154546" y="23813"/>
                  <a:pt x="157051" y="23813"/>
                </a:cubicBezTo>
                <a:close/>
                <a:moveTo>
                  <a:pt x="89522" y="9337"/>
                </a:moveTo>
                <a:cubicBezTo>
                  <a:pt x="84108" y="9337"/>
                  <a:pt x="80137" y="13647"/>
                  <a:pt x="80137" y="18674"/>
                </a:cubicBezTo>
                <a:lnTo>
                  <a:pt x="80137" y="47045"/>
                </a:lnTo>
                <a:lnTo>
                  <a:pt x="277953" y="47045"/>
                </a:lnTo>
                <a:lnTo>
                  <a:pt x="277953" y="18674"/>
                </a:lnTo>
                <a:cubicBezTo>
                  <a:pt x="277953" y="13647"/>
                  <a:pt x="273621" y="9337"/>
                  <a:pt x="268206" y="9337"/>
                </a:cubicBezTo>
                <a:lnTo>
                  <a:pt x="89522" y="9337"/>
                </a:lnTo>
                <a:close/>
                <a:moveTo>
                  <a:pt x="89522" y="0"/>
                </a:moveTo>
                <a:lnTo>
                  <a:pt x="268206" y="0"/>
                </a:lnTo>
                <a:cubicBezTo>
                  <a:pt x="278675" y="0"/>
                  <a:pt x="286977" y="8260"/>
                  <a:pt x="286977" y="18674"/>
                </a:cubicBezTo>
                <a:lnTo>
                  <a:pt x="286977" y="51354"/>
                </a:lnTo>
                <a:lnTo>
                  <a:pt x="286977" y="257490"/>
                </a:lnTo>
                <a:lnTo>
                  <a:pt x="286977" y="290530"/>
                </a:lnTo>
                <a:cubicBezTo>
                  <a:pt x="286977" y="300585"/>
                  <a:pt x="278675" y="309204"/>
                  <a:pt x="268206" y="309204"/>
                </a:cubicBezTo>
                <a:lnTo>
                  <a:pt x="89522" y="309204"/>
                </a:lnTo>
                <a:cubicBezTo>
                  <a:pt x="79054" y="309204"/>
                  <a:pt x="70751" y="300585"/>
                  <a:pt x="70751" y="290530"/>
                </a:cubicBezTo>
                <a:lnTo>
                  <a:pt x="70751" y="229479"/>
                </a:lnTo>
                <a:lnTo>
                  <a:pt x="49093" y="229479"/>
                </a:lnTo>
                <a:lnTo>
                  <a:pt x="4693" y="229479"/>
                </a:lnTo>
                <a:cubicBezTo>
                  <a:pt x="2166" y="229479"/>
                  <a:pt x="0" y="227324"/>
                  <a:pt x="0" y="224810"/>
                </a:cubicBezTo>
                <a:lnTo>
                  <a:pt x="0" y="84393"/>
                </a:lnTo>
                <a:cubicBezTo>
                  <a:pt x="0" y="81521"/>
                  <a:pt x="2166" y="79725"/>
                  <a:pt x="4693" y="79725"/>
                </a:cubicBezTo>
                <a:lnTo>
                  <a:pt x="70751" y="79725"/>
                </a:lnTo>
                <a:lnTo>
                  <a:pt x="70751" y="18674"/>
                </a:lnTo>
                <a:cubicBezTo>
                  <a:pt x="70751" y="8260"/>
                  <a:pt x="79054" y="0"/>
                  <a:pt x="89522" y="0"/>
                </a:cubicBezTo>
                <a:close/>
              </a:path>
            </a:pathLst>
          </a:custGeom>
          <a:solidFill>
            <a:schemeClr val="bg1"/>
          </a:solidFill>
          <a:ln>
            <a:noFill/>
          </a:ln>
          <a:effectLst/>
        </p:spPr>
        <p:txBody>
          <a:bodyPr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58" name="Freeform 713">
            <a:extLst>
              <a:ext uri="{FF2B5EF4-FFF2-40B4-BE49-F238E27FC236}">
                <a16:creationId xmlns:a16="http://schemas.microsoft.com/office/drawing/2014/main" id="{55009458-615E-274C-9626-7F1D823BF9FC}"/>
              </a:ext>
            </a:extLst>
          </p:cNvPr>
          <p:cNvSpPr>
            <a:spLocks noChangeArrowheads="1"/>
          </p:cNvSpPr>
          <p:nvPr/>
        </p:nvSpPr>
        <p:spPr bwMode="auto">
          <a:xfrm>
            <a:off x="6631860" y="5223870"/>
            <a:ext cx="358403" cy="358403"/>
          </a:xfrm>
          <a:custGeom>
            <a:avLst/>
            <a:gdLst/>
            <a:ahLst/>
            <a:cxnLst/>
            <a:rect l="0" t="0" r="r" b="b"/>
            <a:pathLst>
              <a:path w="309204" h="309204">
                <a:moveTo>
                  <a:pt x="124256" y="276165"/>
                </a:moveTo>
                <a:lnTo>
                  <a:pt x="124256" y="299508"/>
                </a:lnTo>
                <a:lnTo>
                  <a:pt x="184948" y="299508"/>
                </a:lnTo>
                <a:lnTo>
                  <a:pt x="184948" y="276165"/>
                </a:lnTo>
                <a:lnTo>
                  <a:pt x="124256" y="276165"/>
                </a:lnTo>
                <a:close/>
                <a:moveTo>
                  <a:pt x="155399" y="250825"/>
                </a:moveTo>
                <a:cubicBezTo>
                  <a:pt x="157869" y="250825"/>
                  <a:pt x="159985" y="252866"/>
                  <a:pt x="159985" y="255247"/>
                </a:cubicBezTo>
                <a:cubicBezTo>
                  <a:pt x="159985" y="257969"/>
                  <a:pt x="157869" y="260010"/>
                  <a:pt x="155399" y="260010"/>
                </a:cubicBezTo>
                <a:cubicBezTo>
                  <a:pt x="152930" y="260010"/>
                  <a:pt x="150813" y="257969"/>
                  <a:pt x="150813" y="255247"/>
                </a:cubicBezTo>
                <a:cubicBezTo>
                  <a:pt x="150813" y="252866"/>
                  <a:pt x="152930" y="250825"/>
                  <a:pt x="155399" y="250825"/>
                </a:cubicBezTo>
                <a:close/>
                <a:moveTo>
                  <a:pt x="9337" y="243485"/>
                </a:moveTo>
                <a:lnTo>
                  <a:pt x="9337" y="257490"/>
                </a:lnTo>
                <a:cubicBezTo>
                  <a:pt x="9337" y="262518"/>
                  <a:pt x="13647" y="266828"/>
                  <a:pt x="18674" y="266828"/>
                </a:cubicBezTo>
                <a:lnTo>
                  <a:pt x="119587" y="266828"/>
                </a:lnTo>
                <a:lnTo>
                  <a:pt x="189616" y="266828"/>
                </a:lnTo>
                <a:lnTo>
                  <a:pt x="290171" y="266828"/>
                </a:lnTo>
                <a:cubicBezTo>
                  <a:pt x="295557" y="266828"/>
                  <a:pt x="299508" y="262518"/>
                  <a:pt x="299508" y="257490"/>
                </a:cubicBezTo>
                <a:lnTo>
                  <a:pt x="299508" y="243485"/>
                </a:lnTo>
                <a:lnTo>
                  <a:pt x="9337" y="243485"/>
                </a:lnTo>
                <a:close/>
                <a:moveTo>
                  <a:pt x="230011" y="92075"/>
                </a:moveTo>
                <a:cubicBezTo>
                  <a:pt x="232481" y="92075"/>
                  <a:pt x="234597" y="94192"/>
                  <a:pt x="234597" y="96661"/>
                </a:cubicBezTo>
                <a:cubicBezTo>
                  <a:pt x="234597" y="99131"/>
                  <a:pt x="232481" y="101247"/>
                  <a:pt x="230011" y="101247"/>
                </a:cubicBezTo>
                <a:cubicBezTo>
                  <a:pt x="227542" y="101247"/>
                  <a:pt x="225425" y="99131"/>
                  <a:pt x="225425" y="96661"/>
                </a:cubicBezTo>
                <a:cubicBezTo>
                  <a:pt x="225425" y="94192"/>
                  <a:pt x="227542" y="92075"/>
                  <a:pt x="230011" y="92075"/>
                </a:cubicBezTo>
                <a:close/>
                <a:moveTo>
                  <a:pt x="150636" y="49213"/>
                </a:moveTo>
                <a:cubicBezTo>
                  <a:pt x="153106" y="49213"/>
                  <a:pt x="155222" y="51330"/>
                  <a:pt x="155222" y="53799"/>
                </a:cubicBezTo>
                <a:cubicBezTo>
                  <a:pt x="155222" y="56621"/>
                  <a:pt x="153106" y="58385"/>
                  <a:pt x="150636" y="58385"/>
                </a:cubicBezTo>
                <a:cubicBezTo>
                  <a:pt x="148167" y="58385"/>
                  <a:pt x="146050" y="56621"/>
                  <a:pt x="146050" y="53799"/>
                </a:cubicBezTo>
                <a:cubicBezTo>
                  <a:pt x="146050" y="51330"/>
                  <a:pt x="148167" y="49213"/>
                  <a:pt x="150636" y="49213"/>
                </a:cubicBezTo>
                <a:close/>
                <a:moveTo>
                  <a:pt x="18635" y="9338"/>
                </a:moveTo>
                <a:cubicBezTo>
                  <a:pt x="13618" y="9338"/>
                  <a:pt x="9317" y="13647"/>
                  <a:pt x="9317" y="18675"/>
                </a:cubicBezTo>
                <a:lnTo>
                  <a:pt x="9317" y="90504"/>
                </a:lnTo>
                <a:cubicBezTo>
                  <a:pt x="9317" y="95532"/>
                  <a:pt x="13618" y="99841"/>
                  <a:pt x="18635" y="99841"/>
                </a:cubicBezTo>
                <a:lnTo>
                  <a:pt x="150870" y="99841"/>
                </a:lnTo>
                <a:cubicBezTo>
                  <a:pt x="156245" y="99841"/>
                  <a:pt x="160546" y="95532"/>
                  <a:pt x="160546" y="90504"/>
                </a:cubicBezTo>
                <a:lnTo>
                  <a:pt x="160546" y="18675"/>
                </a:lnTo>
                <a:cubicBezTo>
                  <a:pt x="160546" y="13647"/>
                  <a:pt x="156245" y="9338"/>
                  <a:pt x="150870" y="9338"/>
                </a:cubicBezTo>
                <a:lnTo>
                  <a:pt x="18635" y="9338"/>
                </a:lnTo>
                <a:close/>
                <a:moveTo>
                  <a:pt x="274010" y="0"/>
                </a:moveTo>
                <a:lnTo>
                  <a:pt x="290171" y="0"/>
                </a:lnTo>
                <a:cubicBezTo>
                  <a:pt x="300585" y="0"/>
                  <a:pt x="309204" y="8260"/>
                  <a:pt x="309204" y="18674"/>
                </a:cubicBezTo>
                <a:lnTo>
                  <a:pt x="309204" y="238816"/>
                </a:lnTo>
                <a:lnTo>
                  <a:pt x="309204" y="257490"/>
                </a:lnTo>
                <a:cubicBezTo>
                  <a:pt x="309204" y="267905"/>
                  <a:pt x="300585" y="276165"/>
                  <a:pt x="290171" y="276165"/>
                </a:cubicBezTo>
                <a:lnTo>
                  <a:pt x="194285" y="276165"/>
                </a:lnTo>
                <a:lnTo>
                  <a:pt x="194285" y="299508"/>
                </a:lnTo>
                <a:lnTo>
                  <a:pt x="224810" y="299508"/>
                </a:lnTo>
                <a:cubicBezTo>
                  <a:pt x="227324" y="299508"/>
                  <a:pt x="229479" y="301662"/>
                  <a:pt x="229479" y="304176"/>
                </a:cubicBezTo>
                <a:cubicBezTo>
                  <a:pt x="229479" y="307049"/>
                  <a:pt x="227324" y="309204"/>
                  <a:pt x="224810" y="309204"/>
                </a:cubicBezTo>
                <a:lnTo>
                  <a:pt x="189616" y="309204"/>
                </a:lnTo>
                <a:lnTo>
                  <a:pt x="119587" y="309204"/>
                </a:lnTo>
                <a:lnTo>
                  <a:pt x="84393" y="309204"/>
                </a:lnTo>
                <a:cubicBezTo>
                  <a:pt x="81880" y="309204"/>
                  <a:pt x="79725" y="307049"/>
                  <a:pt x="79725" y="304176"/>
                </a:cubicBezTo>
                <a:cubicBezTo>
                  <a:pt x="79725" y="301662"/>
                  <a:pt x="81880" y="299508"/>
                  <a:pt x="84393" y="299508"/>
                </a:cubicBezTo>
                <a:lnTo>
                  <a:pt x="114560" y="299508"/>
                </a:lnTo>
                <a:lnTo>
                  <a:pt x="114560" y="276165"/>
                </a:lnTo>
                <a:lnTo>
                  <a:pt x="18674" y="276165"/>
                </a:lnTo>
                <a:cubicBezTo>
                  <a:pt x="8260" y="276165"/>
                  <a:pt x="0" y="267905"/>
                  <a:pt x="0" y="257490"/>
                </a:cubicBezTo>
                <a:lnTo>
                  <a:pt x="0" y="238816"/>
                </a:lnTo>
                <a:lnTo>
                  <a:pt x="0" y="216551"/>
                </a:lnTo>
                <a:cubicBezTo>
                  <a:pt x="0" y="214037"/>
                  <a:pt x="1795" y="211882"/>
                  <a:pt x="4668" y="211882"/>
                </a:cubicBezTo>
                <a:cubicBezTo>
                  <a:pt x="7182" y="211882"/>
                  <a:pt x="9337" y="214037"/>
                  <a:pt x="9337" y="216551"/>
                </a:cubicBezTo>
                <a:lnTo>
                  <a:pt x="9337" y="233788"/>
                </a:lnTo>
                <a:lnTo>
                  <a:pt x="299508" y="233788"/>
                </a:lnTo>
                <a:lnTo>
                  <a:pt x="299508" y="18674"/>
                </a:lnTo>
                <a:cubicBezTo>
                  <a:pt x="299508" y="13647"/>
                  <a:pt x="295557" y="9337"/>
                  <a:pt x="290171" y="9337"/>
                </a:cubicBezTo>
                <a:lnTo>
                  <a:pt x="274010" y="9337"/>
                </a:lnTo>
                <a:cubicBezTo>
                  <a:pt x="271137" y="9337"/>
                  <a:pt x="269341" y="7182"/>
                  <a:pt x="269341" y="4668"/>
                </a:cubicBezTo>
                <a:cubicBezTo>
                  <a:pt x="269341" y="2155"/>
                  <a:pt x="271137" y="0"/>
                  <a:pt x="274010" y="0"/>
                </a:cubicBezTo>
                <a:close/>
                <a:moveTo>
                  <a:pt x="193689" y="0"/>
                </a:moveTo>
                <a:lnTo>
                  <a:pt x="231780" y="0"/>
                </a:lnTo>
                <a:cubicBezTo>
                  <a:pt x="242201" y="0"/>
                  <a:pt x="250466" y="8264"/>
                  <a:pt x="250466" y="18685"/>
                </a:cubicBezTo>
                <a:lnTo>
                  <a:pt x="250466" y="174990"/>
                </a:lnTo>
                <a:cubicBezTo>
                  <a:pt x="250466" y="185051"/>
                  <a:pt x="242201" y="193316"/>
                  <a:pt x="231780" y="193316"/>
                </a:cubicBezTo>
                <a:lnTo>
                  <a:pt x="18686" y="193316"/>
                </a:lnTo>
                <a:cubicBezTo>
                  <a:pt x="8265" y="193316"/>
                  <a:pt x="0" y="185051"/>
                  <a:pt x="0" y="174990"/>
                </a:cubicBezTo>
                <a:lnTo>
                  <a:pt x="0" y="132590"/>
                </a:lnTo>
                <a:cubicBezTo>
                  <a:pt x="0" y="130075"/>
                  <a:pt x="1797" y="127919"/>
                  <a:pt x="4671" y="127919"/>
                </a:cubicBezTo>
                <a:cubicBezTo>
                  <a:pt x="7187" y="127919"/>
                  <a:pt x="9343" y="130075"/>
                  <a:pt x="9343" y="132590"/>
                </a:cubicBezTo>
                <a:lnTo>
                  <a:pt x="9343" y="174990"/>
                </a:lnTo>
                <a:cubicBezTo>
                  <a:pt x="9343" y="180021"/>
                  <a:pt x="13655" y="183973"/>
                  <a:pt x="18686" y="183973"/>
                </a:cubicBezTo>
                <a:lnTo>
                  <a:pt x="231780" y="183973"/>
                </a:lnTo>
                <a:cubicBezTo>
                  <a:pt x="237170" y="183973"/>
                  <a:pt x="241482" y="180021"/>
                  <a:pt x="241482" y="174990"/>
                </a:cubicBezTo>
                <a:lnTo>
                  <a:pt x="241482" y="18685"/>
                </a:lnTo>
                <a:cubicBezTo>
                  <a:pt x="241482" y="13654"/>
                  <a:pt x="237170" y="9342"/>
                  <a:pt x="231780" y="9342"/>
                </a:cubicBezTo>
                <a:lnTo>
                  <a:pt x="193689" y="9342"/>
                </a:lnTo>
                <a:cubicBezTo>
                  <a:pt x="191173" y="9342"/>
                  <a:pt x="189017" y="7186"/>
                  <a:pt x="189017" y="4671"/>
                </a:cubicBezTo>
                <a:cubicBezTo>
                  <a:pt x="189017" y="2156"/>
                  <a:pt x="191173" y="0"/>
                  <a:pt x="193689" y="0"/>
                </a:cubicBezTo>
                <a:close/>
                <a:moveTo>
                  <a:pt x="18635" y="0"/>
                </a:moveTo>
                <a:lnTo>
                  <a:pt x="150870" y="0"/>
                </a:lnTo>
                <a:cubicBezTo>
                  <a:pt x="161262" y="0"/>
                  <a:pt x="169505" y="8260"/>
                  <a:pt x="169505" y="18675"/>
                </a:cubicBezTo>
                <a:lnTo>
                  <a:pt x="169505" y="90504"/>
                </a:lnTo>
                <a:cubicBezTo>
                  <a:pt x="169505" y="100919"/>
                  <a:pt x="161262" y="109179"/>
                  <a:pt x="150870" y="109179"/>
                </a:cubicBezTo>
                <a:lnTo>
                  <a:pt x="18635" y="109179"/>
                </a:lnTo>
                <a:cubicBezTo>
                  <a:pt x="8242" y="109179"/>
                  <a:pt x="0" y="100919"/>
                  <a:pt x="0" y="90504"/>
                </a:cubicBezTo>
                <a:lnTo>
                  <a:pt x="0" y="18675"/>
                </a:lnTo>
                <a:cubicBezTo>
                  <a:pt x="0" y="8260"/>
                  <a:pt x="8242" y="0"/>
                  <a:pt x="18635" y="0"/>
                </a:cubicBezTo>
                <a:close/>
              </a:path>
            </a:pathLst>
          </a:custGeom>
          <a:solidFill>
            <a:schemeClr val="bg1"/>
          </a:solidFill>
          <a:ln>
            <a:noFill/>
          </a:ln>
          <a:effectLst/>
        </p:spPr>
        <p:txBody>
          <a:bodyPr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59" name="Freeform 712">
            <a:extLst>
              <a:ext uri="{FF2B5EF4-FFF2-40B4-BE49-F238E27FC236}">
                <a16:creationId xmlns:a16="http://schemas.microsoft.com/office/drawing/2014/main" id="{64F1D656-2DFB-7A4B-BD24-01B44FA1C09D}"/>
              </a:ext>
            </a:extLst>
          </p:cNvPr>
          <p:cNvSpPr>
            <a:spLocks noChangeArrowheads="1"/>
          </p:cNvSpPr>
          <p:nvPr/>
        </p:nvSpPr>
        <p:spPr bwMode="auto">
          <a:xfrm>
            <a:off x="5214974" y="5776888"/>
            <a:ext cx="360241" cy="358403"/>
          </a:xfrm>
          <a:custGeom>
            <a:avLst/>
            <a:gdLst/>
            <a:ahLst/>
            <a:cxnLst/>
            <a:rect l="0" t="0" r="r" b="b"/>
            <a:pathLst>
              <a:path w="310790" h="309204">
                <a:moveTo>
                  <a:pt x="126411" y="276150"/>
                </a:moveTo>
                <a:lnTo>
                  <a:pt x="109891" y="299503"/>
                </a:lnTo>
                <a:lnTo>
                  <a:pt x="199313" y="299503"/>
                </a:lnTo>
                <a:lnTo>
                  <a:pt x="182434" y="276150"/>
                </a:lnTo>
                <a:lnTo>
                  <a:pt x="126411" y="276150"/>
                </a:lnTo>
                <a:close/>
                <a:moveTo>
                  <a:pt x="9337" y="150044"/>
                </a:moveTo>
                <a:lnTo>
                  <a:pt x="9337" y="229444"/>
                </a:lnTo>
                <a:lnTo>
                  <a:pt x="149754" y="229444"/>
                </a:lnTo>
                <a:lnTo>
                  <a:pt x="149754" y="150044"/>
                </a:lnTo>
                <a:lnTo>
                  <a:pt x="82239" y="195313"/>
                </a:lnTo>
                <a:cubicBezTo>
                  <a:pt x="81520" y="195672"/>
                  <a:pt x="80443" y="195672"/>
                  <a:pt x="79725" y="195672"/>
                </a:cubicBezTo>
                <a:cubicBezTo>
                  <a:pt x="78647" y="195672"/>
                  <a:pt x="77570" y="195672"/>
                  <a:pt x="77211" y="195313"/>
                </a:cubicBezTo>
                <a:lnTo>
                  <a:pt x="9337" y="150044"/>
                </a:lnTo>
                <a:close/>
                <a:moveTo>
                  <a:pt x="49559" y="106212"/>
                </a:moveTo>
                <a:cubicBezTo>
                  <a:pt x="51713" y="104775"/>
                  <a:pt x="54586" y="105134"/>
                  <a:pt x="55664" y="107290"/>
                </a:cubicBezTo>
                <a:cubicBezTo>
                  <a:pt x="57459" y="109446"/>
                  <a:pt x="56741" y="112320"/>
                  <a:pt x="54586" y="113757"/>
                </a:cubicBezTo>
                <a:lnTo>
                  <a:pt x="13287" y="141421"/>
                </a:lnTo>
                <a:lnTo>
                  <a:pt x="79725" y="185612"/>
                </a:lnTo>
                <a:lnTo>
                  <a:pt x="151908" y="137469"/>
                </a:lnTo>
                <a:lnTo>
                  <a:pt x="152267" y="137469"/>
                </a:lnTo>
                <a:cubicBezTo>
                  <a:pt x="152627" y="137110"/>
                  <a:pt x="152986" y="137110"/>
                  <a:pt x="153345" y="136751"/>
                </a:cubicBezTo>
                <a:cubicBezTo>
                  <a:pt x="153345" y="136751"/>
                  <a:pt x="153704" y="136751"/>
                  <a:pt x="154063" y="136751"/>
                </a:cubicBezTo>
                <a:cubicBezTo>
                  <a:pt x="154422" y="136751"/>
                  <a:pt x="154422" y="136751"/>
                  <a:pt x="154422" y="136751"/>
                </a:cubicBezTo>
                <a:cubicBezTo>
                  <a:pt x="154781" y="136751"/>
                  <a:pt x="154781" y="136751"/>
                  <a:pt x="154781" y="136751"/>
                </a:cubicBezTo>
                <a:cubicBezTo>
                  <a:pt x="155500" y="136751"/>
                  <a:pt x="155500" y="136751"/>
                  <a:pt x="155859" y="136751"/>
                </a:cubicBezTo>
                <a:cubicBezTo>
                  <a:pt x="156218" y="137110"/>
                  <a:pt x="156577" y="137110"/>
                  <a:pt x="156577" y="137469"/>
                </a:cubicBezTo>
                <a:cubicBezTo>
                  <a:pt x="156936" y="137469"/>
                  <a:pt x="157295" y="137469"/>
                  <a:pt x="157295" y="137829"/>
                </a:cubicBezTo>
                <a:cubicBezTo>
                  <a:pt x="157654" y="137829"/>
                  <a:pt x="158013" y="138188"/>
                  <a:pt x="158013" y="138188"/>
                </a:cubicBezTo>
                <a:cubicBezTo>
                  <a:pt x="158372" y="138547"/>
                  <a:pt x="158372" y="138547"/>
                  <a:pt x="158372" y="138906"/>
                </a:cubicBezTo>
                <a:cubicBezTo>
                  <a:pt x="158372" y="138906"/>
                  <a:pt x="158372" y="138906"/>
                  <a:pt x="158372" y="139266"/>
                </a:cubicBezTo>
                <a:cubicBezTo>
                  <a:pt x="158732" y="139266"/>
                  <a:pt x="159091" y="139625"/>
                  <a:pt x="159091" y="139984"/>
                </a:cubicBezTo>
                <a:cubicBezTo>
                  <a:pt x="159091" y="140344"/>
                  <a:pt x="159091" y="140703"/>
                  <a:pt x="159091" y="141062"/>
                </a:cubicBezTo>
                <a:cubicBezTo>
                  <a:pt x="159091" y="141062"/>
                  <a:pt x="159091" y="141062"/>
                  <a:pt x="159091" y="141421"/>
                </a:cubicBezTo>
                <a:lnTo>
                  <a:pt x="159091" y="233756"/>
                </a:lnTo>
                <a:cubicBezTo>
                  <a:pt x="159091" y="236630"/>
                  <a:pt x="156936" y="238786"/>
                  <a:pt x="154422" y="238786"/>
                </a:cubicBezTo>
                <a:lnTo>
                  <a:pt x="9337" y="238786"/>
                </a:lnTo>
                <a:lnTo>
                  <a:pt x="9337" y="257468"/>
                </a:lnTo>
                <a:cubicBezTo>
                  <a:pt x="9337" y="262498"/>
                  <a:pt x="13646" y="266809"/>
                  <a:pt x="18674" y="266809"/>
                </a:cubicBezTo>
                <a:lnTo>
                  <a:pt x="124256" y="266809"/>
                </a:lnTo>
                <a:lnTo>
                  <a:pt x="184948" y="266809"/>
                </a:lnTo>
                <a:lnTo>
                  <a:pt x="290530" y="266809"/>
                </a:lnTo>
                <a:cubicBezTo>
                  <a:pt x="295557" y="266809"/>
                  <a:pt x="299508" y="262498"/>
                  <a:pt x="299508" y="257468"/>
                </a:cubicBezTo>
                <a:lnTo>
                  <a:pt x="299508" y="238786"/>
                </a:lnTo>
                <a:lnTo>
                  <a:pt x="178125" y="238786"/>
                </a:lnTo>
                <a:cubicBezTo>
                  <a:pt x="175252" y="238786"/>
                  <a:pt x="173456" y="236630"/>
                  <a:pt x="173456" y="233756"/>
                </a:cubicBezTo>
                <a:cubicBezTo>
                  <a:pt x="173456" y="231600"/>
                  <a:pt x="175252" y="229444"/>
                  <a:pt x="178125" y="229444"/>
                </a:cubicBezTo>
                <a:lnTo>
                  <a:pt x="299508" y="229444"/>
                </a:lnTo>
                <a:lnTo>
                  <a:pt x="299508" y="141062"/>
                </a:lnTo>
                <a:cubicBezTo>
                  <a:pt x="299508" y="138188"/>
                  <a:pt x="301663" y="136392"/>
                  <a:pt x="304176" y="136392"/>
                </a:cubicBezTo>
                <a:cubicBezTo>
                  <a:pt x="307049" y="136392"/>
                  <a:pt x="309204" y="138188"/>
                  <a:pt x="309204" y="141062"/>
                </a:cubicBezTo>
                <a:lnTo>
                  <a:pt x="309204" y="233756"/>
                </a:lnTo>
                <a:lnTo>
                  <a:pt x="309204" y="257468"/>
                </a:lnTo>
                <a:cubicBezTo>
                  <a:pt x="309204" y="267887"/>
                  <a:pt x="300585" y="276150"/>
                  <a:pt x="290530" y="276150"/>
                </a:cubicBezTo>
                <a:lnTo>
                  <a:pt x="194285" y="276150"/>
                </a:lnTo>
                <a:lnTo>
                  <a:pt x="210805" y="299503"/>
                </a:lnTo>
                <a:lnTo>
                  <a:pt x="234148" y="299503"/>
                </a:lnTo>
                <a:cubicBezTo>
                  <a:pt x="236662" y="299503"/>
                  <a:pt x="238816" y="301659"/>
                  <a:pt x="238816" y="304174"/>
                </a:cubicBezTo>
                <a:cubicBezTo>
                  <a:pt x="238816" y="307048"/>
                  <a:pt x="236662" y="309204"/>
                  <a:pt x="234148" y="309204"/>
                </a:cubicBezTo>
                <a:lnTo>
                  <a:pt x="208291" y="309204"/>
                </a:lnTo>
                <a:lnTo>
                  <a:pt x="100913" y="309204"/>
                </a:lnTo>
                <a:lnTo>
                  <a:pt x="75056" y="309204"/>
                </a:lnTo>
                <a:cubicBezTo>
                  <a:pt x="72542" y="309204"/>
                  <a:pt x="70388" y="307048"/>
                  <a:pt x="70388" y="304174"/>
                </a:cubicBezTo>
                <a:cubicBezTo>
                  <a:pt x="70388" y="301659"/>
                  <a:pt x="72542" y="299503"/>
                  <a:pt x="75056" y="299503"/>
                </a:cubicBezTo>
                <a:lnTo>
                  <a:pt x="98040" y="299503"/>
                </a:lnTo>
                <a:lnTo>
                  <a:pt x="114919" y="276150"/>
                </a:lnTo>
                <a:lnTo>
                  <a:pt x="18674" y="276150"/>
                </a:lnTo>
                <a:cubicBezTo>
                  <a:pt x="8260" y="276150"/>
                  <a:pt x="0" y="267887"/>
                  <a:pt x="0" y="257468"/>
                </a:cubicBezTo>
                <a:lnTo>
                  <a:pt x="0" y="233756"/>
                </a:lnTo>
                <a:lnTo>
                  <a:pt x="0" y="141421"/>
                </a:lnTo>
                <a:cubicBezTo>
                  <a:pt x="0" y="140703"/>
                  <a:pt x="0" y="140344"/>
                  <a:pt x="359" y="139625"/>
                </a:cubicBezTo>
                <a:lnTo>
                  <a:pt x="718" y="139266"/>
                </a:lnTo>
                <a:cubicBezTo>
                  <a:pt x="718" y="138906"/>
                  <a:pt x="1077" y="138547"/>
                  <a:pt x="1436" y="138188"/>
                </a:cubicBezTo>
                <a:cubicBezTo>
                  <a:pt x="1436" y="137829"/>
                  <a:pt x="1436" y="137829"/>
                  <a:pt x="1436" y="137829"/>
                </a:cubicBezTo>
                <a:cubicBezTo>
                  <a:pt x="1795" y="137829"/>
                  <a:pt x="2154" y="137469"/>
                  <a:pt x="2154" y="137469"/>
                </a:cubicBezTo>
                <a:lnTo>
                  <a:pt x="49559" y="106212"/>
                </a:lnTo>
                <a:close/>
                <a:moveTo>
                  <a:pt x="177734" y="42514"/>
                </a:moveTo>
                <a:lnTo>
                  <a:pt x="177734" y="82900"/>
                </a:lnTo>
                <a:lnTo>
                  <a:pt x="207566" y="62885"/>
                </a:lnTo>
                <a:lnTo>
                  <a:pt x="177734" y="42514"/>
                </a:lnTo>
                <a:close/>
                <a:moveTo>
                  <a:pt x="170822" y="29290"/>
                </a:moveTo>
                <a:cubicBezTo>
                  <a:pt x="172277" y="28575"/>
                  <a:pt x="174460" y="28933"/>
                  <a:pt x="175551" y="29647"/>
                </a:cubicBezTo>
                <a:lnTo>
                  <a:pt x="218480" y="58597"/>
                </a:lnTo>
                <a:cubicBezTo>
                  <a:pt x="219572" y="59669"/>
                  <a:pt x="220299" y="61098"/>
                  <a:pt x="220299" y="62885"/>
                </a:cubicBezTo>
                <a:cubicBezTo>
                  <a:pt x="220299" y="64315"/>
                  <a:pt x="219572" y="65745"/>
                  <a:pt x="218480" y="66459"/>
                </a:cubicBezTo>
                <a:lnTo>
                  <a:pt x="175551" y="95766"/>
                </a:lnTo>
                <a:cubicBezTo>
                  <a:pt x="174824" y="96123"/>
                  <a:pt x="174096" y="96481"/>
                  <a:pt x="173005" y="96481"/>
                </a:cubicBezTo>
                <a:cubicBezTo>
                  <a:pt x="172277" y="96481"/>
                  <a:pt x="171549" y="96481"/>
                  <a:pt x="170822" y="95766"/>
                </a:cubicBezTo>
                <a:cubicBezTo>
                  <a:pt x="169003" y="95051"/>
                  <a:pt x="168275" y="93622"/>
                  <a:pt x="168275" y="91835"/>
                </a:cubicBezTo>
                <a:lnTo>
                  <a:pt x="168275" y="33579"/>
                </a:lnTo>
                <a:cubicBezTo>
                  <a:pt x="168275" y="31792"/>
                  <a:pt x="169003" y="30362"/>
                  <a:pt x="170822" y="29290"/>
                </a:cubicBezTo>
                <a:close/>
                <a:moveTo>
                  <a:pt x="79574" y="9326"/>
                </a:moveTo>
                <a:lnTo>
                  <a:pt x="79574" y="112636"/>
                </a:lnTo>
                <a:lnTo>
                  <a:pt x="99022" y="112636"/>
                </a:lnTo>
                <a:cubicBezTo>
                  <a:pt x="101543" y="112636"/>
                  <a:pt x="103704" y="114789"/>
                  <a:pt x="103704" y="117300"/>
                </a:cubicBezTo>
                <a:lnTo>
                  <a:pt x="103704" y="135594"/>
                </a:lnTo>
                <a:lnTo>
                  <a:pt x="137198" y="113712"/>
                </a:lnTo>
                <a:cubicBezTo>
                  <a:pt x="138278" y="112995"/>
                  <a:pt x="138998" y="112636"/>
                  <a:pt x="140079" y="112636"/>
                </a:cubicBezTo>
                <a:lnTo>
                  <a:pt x="301066" y="112636"/>
                </a:lnTo>
                <a:lnTo>
                  <a:pt x="301066" y="9326"/>
                </a:lnTo>
                <a:lnTo>
                  <a:pt x="79574" y="9326"/>
                </a:lnTo>
                <a:close/>
                <a:moveTo>
                  <a:pt x="74892" y="0"/>
                </a:moveTo>
                <a:lnTo>
                  <a:pt x="305748" y="0"/>
                </a:lnTo>
                <a:cubicBezTo>
                  <a:pt x="308629" y="0"/>
                  <a:pt x="310790" y="2152"/>
                  <a:pt x="310790" y="4663"/>
                </a:cubicBezTo>
                <a:lnTo>
                  <a:pt x="310790" y="117300"/>
                </a:lnTo>
                <a:cubicBezTo>
                  <a:pt x="310790" y="119811"/>
                  <a:pt x="308629" y="121963"/>
                  <a:pt x="305748" y="121963"/>
                </a:cubicBezTo>
                <a:lnTo>
                  <a:pt x="141159" y="121963"/>
                </a:lnTo>
                <a:lnTo>
                  <a:pt x="101543" y="148149"/>
                </a:lnTo>
                <a:cubicBezTo>
                  <a:pt x="100462" y="148866"/>
                  <a:pt x="99742" y="148866"/>
                  <a:pt x="99022" y="148866"/>
                </a:cubicBezTo>
                <a:cubicBezTo>
                  <a:pt x="98302" y="148866"/>
                  <a:pt x="97581" y="148866"/>
                  <a:pt x="96501" y="148508"/>
                </a:cubicBezTo>
                <a:cubicBezTo>
                  <a:pt x="95060" y="147432"/>
                  <a:pt x="94340" y="145997"/>
                  <a:pt x="94340" y="144562"/>
                </a:cubicBezTo>
                <a:lnTo>
                  <a:pt x="94340" y="121963"/>
                </a:lnTo>
                <a:lnTo>
                  <a:pt x="74892" y="121963"/>
                </a:lnTo>
                <a:cubicBezTo>
                  <a:pt x="72011" y="121963"/>
                  <a:pt x="69850" y="119811"/>
                  <a:pt x="69850" y="117300"/>
                </a:cubicBezTo>
                <a:lnTo>
                  <a:pt x="69850" y="4663"/>
                </a:lnTo>
                <a:cubicBezTo>
                  <a:pt x="69850" y="2152"/>
                  <a:pt x="72011" y="0"/>
                  <a:pt x="74892" y="0"/>
                </a:cubicBezTo>
                <a:close/>
                <a:moveTo>
                  <a:pt x="18640" y="0"/>
                </a:moveTo>
                <a:lnTo>
                  <a:pt x="50544" y="0"/>
                </a:lnTo>
                <a:cubicBezTo>
                  <a:pt x="53053" y="0"/>
                  <a:pt x="55204" y="2158"/>
                  <a:pt x="55204" y="4676"/>
                </a:cubicBezTo>
                <a:cubicBezTo>
                  <a:pt x="55204" y="7194"/>
                  <a:pt x="53053" y="9352"/>
                  <a:pt x="50544" y="9352"/>
                </a:cubicBezTo>
                <a:lnTo>
                  <a:pt x="18640" y="9352"/>
                </a:lnTo>
                <a:cubicBezTo>
                  <a:pt x="13622" y="9352"/>
                  <a:pt x="9320" y="13669"/>
                  <a:pt x="9320" y="18705"/>
                </a:cubicBezTo>
                <a:lnTo>
                  <a:pt x="9320" y="114027"/>
                </a:lnTo>
                <a:cubicBezTo>
                  <a:pt x="9320" y="116545"/>
                  <a:pt x="7169" y="118703"/>
                  <a:pt x="4660" y="118703"/>
                </a:cubicBezTo>
                <a:cubicBezTo>
                  <a:pt x="2151" y="118703"/>
                  <a:pt x="0" y="116545"/>
                  <a:pt x="0" y="114027"/>
                </a:cubicBezTo>
                <a:lnTo>
                  <a:pt x="0" y="18705"/>
                </a:lnTo>
                <a:cubicBezTo>
                  <a:pt x="0" y="8273"/>
                  <a:pt x="8245" y="0"/>
                  <a:pt x="18640" y="0"/>
                </a:cubicBezTo>
                <a:close/>
              </a:path>
            </a:pathLst>
          </a:custGeom>
          <a:solidFill>
            <a:schemeClr val="bg1"/>
          </a:solidFill>
          <a:ln>
            <a:noFill/>
          </a:ln>
          <a:effectLst/>
        </p:spPr>
        <p:txBody>
          <a:bodyPr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 name="Freeform 39">
            <a:extLst>
              <a:ext uri="{FF2B5EF4-FFF2-40B4-BE49-F238E27FC236}">
                <a16:creationId xmlns:a16="http://schemas.microsoft.com/office/drawing/2014/main" id="{13B33F00-412B-40AB-94A5-1D3B0338D18A}"/>
              </a:ext>
            </a:extLst>
          </p:cNvPr>
          <p:cNvSpPr>
            <a:spLocks noChangeArrowheads="1"/>
          </p:cNvSpPr>
          <p:nvPr/>
        </p:nvSpPr>
        <p:spPr bwMode="auto">
          <a:xfrm>
            <a:off x="9070990" y="2912842"/>
            <a:ext cx="543427" cy="1744245"/>
          </a:xfrm>
          <a:custGeom>
            <a:avLst/>
            <a:gdLst>
              <a:gd name="connsiteX0" fmla="*/ 921034 w 1086853"/>
              <a:gd name="connsiteY0" fmla="*/ 0 h 3488490"/>
              <a:gd name="connsiteX1" fmla="*/ 965817 w 1086853"/>
              <a:gd name="connsiteY1" fmla="*/ 54278 h 3488490"/>
              <a:gd name="connsiteX2" fmla="*/ 1078961 w 1086853"/>
              <a:gd name="connsiteY2" fmla="*/ 147630 h 3488490"/>
              <a:gd name="connsiteX3" fmla="*/ 1086853 w 1086853"/>
              <a:gd name="connsiteY3" fmla="*/ 151914 h 3488490"/>
              <a:gd name="connsiteX4" fmla="*/ 1017809 w 1086853"/>
              <a:gd name="connsiteY4" fmla="*/ 188691 h 3488490"/>
              <a:gd name="connsiteX5" fmla="*/ 299202 w 1086853"/>
              <a:gd name="connsiteY5" fmla="*/ 905868 h 3488490"/>
              <a:gd name="connsiteX6" fmla="*/ 166586 w 1086853"/>
              <a:gd name="connsiteY6" fmla="*/ 1227226 h 3488490"/>
              <a:gd name="connsiteX7" fmla="*/ 166586 w 1086853"/>
              <a:gd name="connsiteY7" fmla="*/ 3488490 h 3488490"/>
              <a:gd name="connsiteX8" fmla="*/ 0 w 1086853"/>
              <a:gd name="connsiteY8" fmla="*/ 3488490 h 3488490"/>
              <a:gd name="connsiteX9" fmla="*/ 0 w 1086853"/>
              <a:gd name="connsiteY9" fmla="*/ 1227226 h 3488490"/>
              <a:gd name="connsiteX10" fmla="*/ 182265 w 1086853"/>
              <a:gd name="connsiteY10" fmla="*/ 788951 h 3488490"/>
              <a:gd name="connsiteX11" fmla="*/ 870821 w 1086853"/>
              <a:gd name="connsiteY11" fmla="*/ 101167 h 3488490"/>
              <a:gd name="connsiteX12" fmla="*/ 914366 w 1086853"/>
              <a:gd name="connsiteY12" fmla="*/ 19603 h 3488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6853" h="3488490">
                <a:moveTo>
                  <a:pt x="921034" y="0"/>
                </a:moveTo>
                <a:lnTo>
                  <a:pt x="965817" y="54278"/>
                </a:lnTo>
                <a:cubicBezTo>
                  <a:pt x="1000404" y="88865"/>
                  <a:pt x="1038289" y="120153"/>
                  <a:pt x="1078961" y="147630"/>
                </a:cubicBezTo>
                <a:lnTo>
                  <a:pt x="1086853" y="151914"/>
                </a:lnTo>
                <a:lnTo>
                  <a:pt x="1017809" y="188691"/>
                </a:lnTo>
                <a:lnTo>
                  <a:pt x="299202" y="905868"/>
                </a:lnTo>
                <a:cubicBezTo>
                  <a:pt x="213622" y="992086"/>
                  <a:pt x="166586" y="1105737"/>
                  <a:pt x="166586" y="1227226"/>
                </a:cubicBezTo>
                <a:lnTo>
                  <a:pt x="166586" y="3488490"/>
                </a:lnTo>
                <a:lnTo>
                  <a:pt x="0" y="3488490"/>
                </a:lnTo>
                <a:lnTo>
                  <a:pt x="0" y="1227226"/>
                </a:lnTo>
                <a:cubicBezTo>
                  <a:pt x="0" y="1061322"/>
                  <a:pt x="65328" y="905868"/>
                  <a:pt x="182265" y="788951"/>
                </a:cubicBezTo>
                <a:lnTo>
                  <a:pt x="870821" y="101167"/>
                </a:lnTo>
                <a:cubicBezTo>
                  <a:pt x="886500" y="76183"/>
                  <a:pt x="901403" y="48913"/>
                  <a:pt x="914366" y="19603"/>
                </a:cubicBezTo>
                <a:close/>
              </a:path>
            </a:pathLst>
          </a:custGeom>
          <a:solidFill>
            <a:srgbClr val="0091B5"/>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3" name="Freeform 41">
            <a:extLst>
              <a:ext uri="{FF2B5EF4-FFF2-40B4-BE49-F238E27FC236}">
                <a16:creationId xmlns:a16="http://schemas.microsoft.com/office/drawing/2014/main" id="{4E7BF450-9962-4D86-BF27-AE37008B2131}"/>
              </a:ext>
            </a:extLst>
          </p:cNvPr>
          <p:cNvSpPr>
            <a:spLocks noChangeArrowheads="1"/>
          </p:cNvSpPr>
          <p:nvPr/>
        </p:nvSpPr>
        <p:spPr bwMode="auto">
          <a:xfrm>
            <a:off x="9483705" y="1550587"/>
            <a:ext cx="2145473" cy="1530961"/>
          </a:xfrm>
          <a:custGeom>
            <a:avLst/>
            <a:gdLst>
              <a:gd name="connsiteX0" fmla="*/ 1344579 w 4290945"/>
              <a:gd name="connsiteY0" fmla="*/ 0 h 3061922"/>
              <a:gd name="connsiteX1" fmla="*/ 4014007 w 4290945"/>
              <a:gd name="connsiteY1" fmla="*/ 0 h 3061922"/>
              <a:gd name="connsiteX2" fmla="*/ 4290945 w 4290945"/>
              <a:gd name="connsiteY2" fmla="*/ 277060 h 3061922"/>
              <a:gd name="connsiteX3" fmla="*/ 4290945 w 4290945"/>
              <a:gd name="connsiteY3" fmla="*/ 1738813 h 3061922"/>
              <a:gd name="connsiteX4" fmla="*/ 3183199 w 4290945"/>
              <a:gd name="connsiteY4" fmla="*/ 2847706 h 3061922"/>
              <a:gd name="connsiteX5" fmla="*/ 613049 w 4290945"/>
              <a:gd name="connsiteY5" fmla="*/ 2847706 h 3061922"/>
              <a:gd name="connsiteX6" fmla="*/ 266995 w 4290945"/>
              <a:gd name="connsiteY6" fmla="*/ 3018622 h 3061922"/>
              <a:gd name="connsiteX7" fmla="*/ 242552 w 4290945"/>
              <a:gd name="connsiteY7" fmla="*/ 3061922 h 3061922"/>
              <a:gd name="connsiteX8" fmla="*/ 213356 w 4290945"/>
              <a:gd name="connsiteY8" fmla="*/ 3008133 h 3061922"/>
              <a:gd name="connsiteX9" fmla="*/ 6860 w 4290945"/>
              <a:gd name="connsiteY9" fmla="*/ 2801637 h 3061922"/>
              <a:gd name="connsiteX10" fmla="*/ 0 w 4290945"/>
              <a:gd name="connsiteY10" fmla="*/ 2797914 h 3061922"/>
              <a:gd name="connsiteX11" fmla="*/ 48413 w 4290945"/>
              <a:gd name="connsiteY11" fmla="*/ 2767230 h 3061922"/>
              <a:gd name="connsiteX12" fmla="*/ 236181 w 4290945"/>
              <a:gd name="connsiteY12" fmla="*/ 2375266 h 3061922"/>
              <a:gd name="connsiteX13" fmla="*/ 236181 w 4290945"/>
              <a:gd name="connsiteY13" fmla="*/ 1108240 h 3061922"/>
              <a:gd name="connsiteX14" fmla="*/ 1344579 w 4290945"/>
              <a:gd name="connsiteY14" fmla="*/ 0 h 306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90945" h="3061922">
                <a:moveTo>
                  <a:pt x="1344579" y="0"/>
                </a:moveTo>
                <a:lnTo>
                  <a:pt x="4014007" y="0"/>
                </a:lnTo>
                <a:cubicBezTo>
                  <a:pt x="4167499" y="0"/>
                  <a:pt x="4290945" y="123501"/>
                  <a:pt x="4290945" y="277060"/>
                </a:cubicBezTo>
                <a:lnTo>
                  <a:pt x="4290945" y="1738813"/>
                </a:lnTo>
                <a:cubicBezTo>
                  <a:pt x="4290945" y="2351089"/>
                  <a:pt x="3795201" y="2847706"/>
                  <a:pt x="3183199" y="2847706"/>
                </a:cubicBezTo>
                <a:lnTo>
                  <a:pt x="613049" y="2847706"/>
                </a:lnTo>
                <a:cubicBezTo>
                  <a:pt x="438903" y="2855057"/>
                  <a:pt x="332266" y="2929029"/>
                  <a:pt x="266995" y="3018622"/>
                </a:cubicBezTo>
                <a:lnTo>
                  <a:pt x="242552" y="3061922"/>
                </a:lnTo>
                <a:lnTo>
                  <a:pt x="213356" y="3008133"/>
                </a:lnTo>
                <a:cubicBezTo>
                  <a:pt x="158402" y="2926790"/>
                  <a:pt x="88203" y="2856592"/>
                  <a:pt x="6860" y="2801637"/>
                </a:cubicBezTo>
                <a:lnTo>
                  <a:pt x="0" y="2797914"/>
                </a:lnTo>
                <a:lnTo>
                  <a:pt x="48413" y="2767230"/>
                </a:lnTo>
                <a:cubicBezTo>
                  <a:pt x="187501" y="2647466"/>
                  <a:pt x="226384" y="2449596"/>
                  <a:pt x="236181" y="2375266"/>
                </a:cubicBezTo>
                <a:lnTo>
                  <a:pt x="236181" y="1108240"/>
                </a:lnTo>
                <a:cubicBezTo>
                  <a:pt x="236181" y="495964"/>
                  <a:pt x="732576" y="0"/>
                  <a:pt x="1344579" y="0"/>
                </a:cubicBezTo>
                <a:close/>
              </a:path>
            </a:pathLst>
          </a:custGeom>
          <a:solidFill>
            <a:srgbClr val="0091B5"/>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10" name="TextBox 9">
            <a:extLst>
              <a:ext uri="{FF2B5EF4-FFF2-40B4-BE49-F238E27FC236}">
                <a16:creationId xmlns:a16="http://schemas.microsoft.com/office/drawing/2014/main" id="{1CABA561-FACE-445F-85DD-2177678270E4}"/>
              </a:ext>
            </a:extLst>
          </p:cNvPr>
          <p:cNvSpPr txBox="1"/>
          <p:nvPr/>
        </p:nvSpPr>
        <p:spPr>
          <a:xfrm>
            <a:off x="9808646" y="1523238"/>
            <a:ext cx="1912974" cy="523220"/>
          </a:xfrm>
          <a:prstGeom prst="rect">
            <a:avLst/>
          </a:prstGeom>
          <a:noFill/>
        </p:spPr>
        <p:txBody>
          <a:bodyPr wrap="square" rtlCol="0" anchor="b"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Measures to drive </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performance </a:t>
            </a:r>
          </a:p>
        </p:txBody>
      </p:sp>
      <p:sp>
        <p:nvSpPr>
          <p:cNvPr id="11" name="Subtitle 2">
            <a:extLst>
              <a:ext uri="{FF2B5EF4-FFF2-40B4-BE49-F238E27FC236}">
                <a16:creationId xmlns:a16="http://schemas.microsoft.com/office/drawing/2014/main" id="{093F29B8-7072-40CA-B5E3-14359AD89A1D}"/>
              </a:ext>
            </a:extLst>
          </p:cNvPr>
          <p:cNvSpPr txBox="1">
            <a:spLocks/>
          </p:cNvSpPr>
          <p:nvPr/>
        </p:nvSpPr>
        <p:spPr>
          <a:xfrm>
            <a:off x="9808646" y="2025282"/>
            <a:ext cx="1820532" cy="796565"/>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543818" rtl="0" eaLnBrk="1" fontAlgn="auto" latinLnBrk="0" hangingPunct="1">
              <a:lnSpc>
                <a:spcPts val="1500"/>
              </a:lnSpc>
              <a:spcBef>
                <a:spcPct val="20000"/>
              </a:spcBef>
              <a:spcAft>
                <a:spcPts val="0"/>
              </a:spcAft>
              <a:buClrTx/>
              <a:buSzTx/>
              <a:buFont typeface="Arial"/>
              <a:buNone/>
              <a:tabLst/>
              <a:defRPr/>
            </a:pPr>
            <a:r>
              <a:rPr kumimoji="0" lang="en-US" sz="10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Develop a reporting format , refine KPI’s constantly and use checklists and exhibits to get the process moving </a:t>
            </a:r>
          </a:p>
        </p:txBody>
      </p:sp>
      <p:sp>
        <p:nvSpPr>
          <p:cNvPr id="43" name="Freeform 232">
            <a:extLst>
              <a:ext uri="{FF2B5EF4-FFF2-40B4-BE49-F238E27FC236}">
                <a16:creationId xmlns:a16="http://schemas.microsoft.com/office/drawing/2014/main" id="{35EACA23-0DAA-4532-9C21-43078955F04D}"/>
              </a:ext>
            </a:extLst>
          </p:cNvPr>
          <p:cNvSpPr>
            <a:spLocks noChangeArrowheads="1"/>
          </p:cNvSpPr>
          <p:nvPr/>
        </p:nvSpPr>
        <p:spPr bwMode="auto">
          <a:xfrm>
            <a:off x="10142987" y="1993606"/>
            <a:ext cx="1244291" cy="36004"/>
          </a:xfrm>
          <a:custGeom>
            <a:avLst/>
            <a:gdLst>
              <a:gd name="T0" fmla="*/ 3756 w 3812"/>
              <a:gd name="T1" fmla="*/ 109 h 110"/>
              <a:gd name="T2" fmla="*/ 55 w 3812"/>
              <a:gd name="T3" fmla="*/ 109 h 110"/>
              <a:gd name="T4" fmla="*/ 55 w 3812"/>
              <a:gd name="T5" fmla="*/ 109 h 110"/>
              <a:gd name="T6" fmla="*/ 0 w 3812"/>
              <a:gd name="T7" fmla="*/ 55 h 110"/>
              <a:gd name="T8" fmla="*/ 0 w 3812"/>
              <a:gd name="T9" fmla="*/ 55 h 110"/>
              <a:gd name="T10" fmla="*/ 55 w 3812"/>
              <a:gd name="T11" fmla="*/ 0 h 110"/>
              <a:gd name="T12" fmla="*/ 3756 w 3812"/>
              <a:gd name="T13" fmla="*/ 0 h 110"/>
              <a:gd name="T14" fmla="*/ 3756 w 3812"/>
              <a:gd name="T15" fmla="*/ 0 h 110"/>
              <a:gd name="T16" fmla="*/ 3811 w 3812"/>
              <a:gd name="T17" fmla="*/ 55 h 110"/>
              <a:gd name="T18" fmla="*/ 3811 w 3812"/>
              <a:gd name="T19" fmla="*/ 55 h 110"/>
              <a:gd name="T20" fmla="*/ 3756 w 3812"/>
              <a:gd name="T21" fmla="*/ 10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12" h="110">
                <a:moveTo>
                  <a:pt x="3756" y="109"/>
                </a:moveTo>
                <a:lnTo>
                  <a:pt x="55" y="109"/>
                </a:lnTo>
                <a:lnTo>
                  <a:pt x="55" y="109"/>
                </a:lnTo>
                <a:cubicBezTo>
                  <a:pt x="25" y="109"/>
                  <a:pt x="0" y="85"/>
                  <a:pt x="0" y="55"/>
                </a:cubicBezTo>
                <a:lnTo>
                  <a:pt x="0" y="55"/>
                </a:lnTo>
                <a:cubicBezTo>
                  <a:pt x="0" y="25"/>
                  <a:pt x="25" y="0"/>
                  <a:pt x="55" y="0"/>
                </a:cubicBezTo>
                <a:lnTo>
                  <a:pt x="3756" y="0"/>
                </a:lnTo>
                <a:lnTo>
                  <a:pt x="3756" y="0"/>
                </a:lnTo>
                <a:cubicBezTo>
                  <a:pt x="3786" y="0"/>
                  <a:pt x="3811" y="25"/>
                  <a:pt x="3811" y="55"/>
                </a:cubicBezTo>
                <a:lnTo>
                  <a:pt x="3811" y="55"/>
                </a:lnTo>
                <a:cubicBezTo>
                  <a:pt x="3811" y="85"/>
                  <a:pt x="3786" y="109"/>
                  <a:pt x="3756" y="10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3266"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63" name="TextBox 62">
            <a:extLst>
              <a:ext uri="{FF2B5EF4-FFF2-40B4-BE49-F238E27FC236}">
                <a16:creationId xmlns:a16="http://schemas.microsoft.com/office/drawing/2014/main" id="{49E01450-B125-45D8-A189-A6F7F464ECAC}"/>
              </a:ext>
            </a:extLst>
          </p:cNvPr>
          <p:cNvSpPr txBox="1"/>
          <p:nvPr/>
        </p:nvSpPr>
        <p:spPr>
          <a:xfrm>
            <a:off x="94018" y="165975"/>
            <a:ext cx="4461960" cy="461665"/>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060"/>
                </a:solidFill>
                <a:effectLst/>
                <a:uLnTx/>
                <a:uFillTx/>
                <a:latin typeface="Lato Light"/>
                <a:ea typeface="+mn-ea"/>
                <a:cs typeface="+mn-cs"/>
              </a:rPr>
              <a:t>The 6 Steps to setting up KPI’s</a:t>
            </a:r>
            <a:endParaRPr kumimoji="0" lang="en-US" sz="24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pic>
        <p:nvPicPr>
          <p:cNvPr id="64" name="Picture 63" descr="Logo&#10;&#10;Description automatically generated">
            <a:extLst>
              <a:ext uri="{FF2B5EF4-FFF2-40B4-BE49-F238E27FC236}">
                <a16:creationId xmlns:a16="http://schemas.microsoft.com/office/drawing/2014/main" id="{B868D41D-0775-4DC7-8C72-497FAACEBC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44" name="Footer Placeholder 3">
            <a:extLst>
              <a:ext uri="{FF2B5EF4-FFF2-40B4-BE49-F238E27FC236}">
                <a16:creationId xmlns:a16="http://schemas.microsoft.com/office/drawing/2014/main" id="{3385173D-41EE-D04A-A577-ACD426688ECD}"/>
              </a:ext>
            </a:extLst>
          </p:cNvPr>
          <p:cNvSpPr txBox="1">
            <a:spLocks/>
          </p:cNvSpPr>
          <p:nvPr/>
        </p:nvSpPr>
        <p:spPr>
          <a:xfrm>
            <a:off x="10149840" y="6557518"/>
            <a:ext cx="20421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12572190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Subtitle 2">
            <a:extLst>
              <a:ext uri="{FF2B5EF4-FFF2-40B4-BE49-F238E27FC236}">
                <a16:creationId xmlns:a16="http://schemas.microsoft.com/office/drawing/2014/main" id="{6C5F9FA3-7494-4E62-8AB3-34C96BF26B1E}"/>
              </a:ext>
            </a:extLst>
          </p:cNvPr>
          <p:cNvSpPr txBox="1">
            <a:spLocks/>
          </p:cNvSpPr>
          <p:nvPr/>
        </p:nvSpPr>
        <p:spPr>
          <a:xfrm>
            <a:off x="156660" y="2081413"/>
            <a:ext cx="4697771" cy="2431435"/>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1"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111111"/>
                </a:solidFill>
                <a:effectLst/>
                <a:uLnTx/>
                <a:uFillTx/>
                <a:latin typeface="Lato Light" panose="020F0502020204030203" pitchFamily="34" charset="0"/>
                <a:ea typeface="Lato Light" panose="020F0502020204030203" pitchFamily="34" charset="0"/>
                <a:cs typeface="Lato Light" panose="020F0502020204030203" pitchFamily="34" charset="0"/>
              </a:rPr>
              <a:t>Gross profit is the simplest profitability metric because it defines profit as all income that remains after accounting for the cost of goods sold (COGS). COGS includes only those expenses directly associated with the production or manufacture of items for sale, including raw materials and the wages for labour required to make or assemble goods.</a:t>
            </a:r>
            <a:r>
              <a:rPr kumimoji="0" lang="en-GB" sz="18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8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401110"/>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3" y="1148501"/>
              <a:ext cx="2981657" cy="338554"/>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Gross Profit </a:t>
              </a:r>
            </a:p>
          </p:txBody>
        </p:sp>
      </p:grpSp>
      <p:sp>
        <p:nvSpPr>
          <p:cNvPr id="25" name="Rectangle 24">
            <a:extLst>
              <a:ext uri="{FF2B5EF4-FFF2-40B4-BE49-F238E27FC236}">
                <a16:creationId xmlns:a16="http://schemas.microsoft.com/office/drawing/2014/main" id="{3E90C702-2758-4AA6-AD1C-3EFF80B9FBA7}"/>
              </a:ext>
            </a:extLst>
          </p:cNvPr>
          <p:cNvSpPr/>
          <p:nvPr/>
        </p:nvSpPr>
        <p:spPr>
          <a:xfrm>
            <a:off x="6593857" y="281446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8" name="Rectangle 27">
            <a:extLst>
              <a:ext uri="{FF2B5EF4-FFF2-40B4-BE49-F238E27FC236}">
                <a16:creationId xmlns:a16="http://schemas.microsoft.com/office/drawing/2014/main" id="{8A851518-4E78-43D0-820D-188D4B317484}"/>
              </a:ext>
            </a:extLst>
          </p:cNvPr>
          <p:cNvSpPr/>
          <p:nvPr/>
        </p:nvSpPr>
        <p:spPr>
          <a:xfrm>
            <a:off x="5205670" y="2817105"/>
            <a:ext cx="136124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Margins %</a:t>
            </a:r>
          </a:p>
        </p:txBody>
      </p:sp>
      <p:sp>
        <p:nvSpPr>
          <p:cNvPr id="29" name="Rectangle 28">
            <a:extLst>
              <a:ext uri="{FF2B5EF4-FFF2-40B4-BE49-F238E27FC236}">
                <a16:creationId xmlns:a16="http://schemas.microsoft.com/office/drawing/2014/main" id="{A0C0B152-A8AC-456D-AA19-B451CB8BEA58}"/>
              </a:ext>
            </a:extLst>
          </p:cNvPr>
          <p:cNvSpPr/>
          <p:nvPr/>
        </p:nvSpPr>
        <p:spPr>
          <a:xfrm>
            <a:off x="7220425" y="2586392"/>
            <a:ext cx="1226670"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Selling Price </a:t>
            </a:r>
          </a:p>
        </p:txBody>
      </p:sp>
      <p:sp>
        <p:nvSpPr>
          <p:cNvPr id="30" name="Rectangle 29">
            <a:extLst>
              <a:ext uri="{FF2B5EF4-FFF2-40B4-BE49-F238E27FC236}">
                <a16:creationId xmlns:a16="http://schemas.microsoft.com/office/drawing/2014/main" id="{027D0824-E725-492F-AD2A-2B7B65C89CD9}"/>
              </a:ext>
            </a:extLst>
          </p:cNvPr>
          <p:cNvSpPr/>
          <p:nvPr/>
        </p:nvSpPr>
        <p:spPr>
          <a:xfrm>
            <a:off x="9119767" y="2573781"/>
            <a:ext cx="1100726"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Cost price </a:t>
            </a:r>
          </a:p>
        </p:txBody>
      </p:sp>
      <p:sp>
        <p:nvSpPr>
          <p:cNvPr id="31" name="Rectangle 30">
            <a:extLst>
              <a:ext uri="{FF2B5EF4-FFF2-40B4-BE49-F238E27FC236}">
                <a16:creationId xmlns:a16="http://schemas.microsoft.com/office/drawing/2014/main" id="{66434CA6-F4C2-423F-9230-074C5970610F}"/>
              </a:ext>
            </a:extLst>
          </p:cNvPr>
          <p:cNvSpPr/>
          <p:nvPr/>
        </p:nvSpPr>
        <p:spPr>
          <a:xfrm>
            <a:off x="7220425" y="3069588"/>
            <a:ext cx="3000068"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Selling Price </a:t>
            </a:r>
          </a:p>
        </p:txBody>
      </p:sp>
      <p:sp>
        <p:nvSpPr>
          <p:cNvPr id="32" name="Rectangle 31">
            <a:extLst>
              <a:ext uri="{FF2B5EF4-FFF2-40B4-BE49-F238E27FC236}">
                <a16:creationId xmlns:a16="http://schemas.microsoft.com/office/drawing/2014/main" id="{8E68D065-76E7-4FE3-B967-9B19FB03C3A5}"/>
              </a:ext>
            </a:extLst>
          </p:cNvPr>
          <p:cNvSpPr/>
          <p:nvPr/>
        </p:nvSpPr>
        <p:spPr>
          <a:xfrm>
            <a:off x="8480597" y="2582659"/>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33" name="Rectangle 32">
            <a:extLst>
              <a:ext uri="{FF2B5EF4-FFF2-40B4-BE49-F238E27FC236}">
                <a16:creationId xmlns:a16="http://schemas.microsoft.com/office/drawing/2014/main" id="{F345AE95-1CD0-4FF8-B2DC-E153CFA18D7F}"/>
              </a:ext>
            </a:extLst>
          </p:cNvPr>
          <p:cNvSpPr/>
          <p:nvPr/>
        </p:nvSpPr>
        <p:spPr>
          <a:xfrm>
            <a:off x="10258552" y="285751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x</a:t>
            </a:r>
          </a:p>
        </p:txBody>
      </p:sp>
      <p:sp>
        <p:nvSpPr>
          <p:cNvPr id="34" name="Rectangle 33">
            <a:extLst>
              <a:ext uri="{FF2B5EF4-FFF2-40B4-BE49-F238E27FC236}">
                <a16:creationId xmlns:a16="http://schemas.microsoft.com/office/drawing/2014/main" id="{C63099BE-FCBF-4A36-AE6C-BB764EFBE804}"/>
              </a:ext>
            </a:extLst>
          </p:cNvPr>
          <p:cNvSpPr/>
          <p:nvPr/>
        </p:nvSpPr>
        <p:spPr>
          <a:xfrm>
            <a:off x="10893165" y="2856369"/>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100</a:t>
            </a:r>
          </a:p>
        </p:txBody>
      </p:sp>
      <p:sp>
        <p:nvSpPr>
          <p:cNvPr id="27" name="TextBox 26">
            <a:extLst>
              <a:ext uri="{FF2B5EF4-FFF2-40B4-BE49-F238E27FC236}">
                <a16:creationId xmlns:a16="http://schemas.microsoft.com/office/drawing/2014/main" id="{28C23C00-8B74-BB31-34C9-AB02DF988514}"/>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pic>
        <p:nvPicPr>
          <p:cNvPr id="35" name="Picture 34" descr="Logo&#10;&#10;Description automatically generated">
            <a:extLst>
              <a:ext uri="{FF2B5EF4-FFF2-40B4-BE49-F238E27FC236}">
                <a16:creationId xmlns:a16="http://schemas.microsoft.com/office/drawing/2014/main" id="{7AC40C3D-BD46-4E4F-6AB6-5D41EA6B5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86957" y="215015"/>
            <a:ext cx="1570594" cy="365556"/>
          </a:xfrm>
          <a:prstGeom prst="rect">
            <a:avLst/>
          </a:prstGeom>
        </p:spPr>
      </p:pic>
      <p:sp>
        <p:nvSpPr>
          <p:cNvPr id="36" name="Footer Placeholder 3">
            <a:extLst>
              <a:ext uri="{FF2B5EF4-FFF2-40B4-BE49-F238E27FC236}">
                <a16:creationId xmlns:a16="http://schemas.microsoft.com/office/drawing/2014/main" id="{60AF225A-8299-795D-A4AC-129F8CE9254E}"/>
              </a:ext>
            </a:extLst>
          </p:cNvPr>
          <p:cNvSpPr txBox="1">
            <a:spLocks/>
          </p:cNvSpPr>
          <p:nvPr/>
        </p:nvSpPr>
        <p:spPr>
          <a:xfrm>
            <a:off x="3764280" y="6493510"/>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16593924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53866C-1465-F2A8-5013-28F8A54E2624}"/>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Subtitle 2">
            <a:extLst>
              <a:ext uri="{FF2B5EF4-FFF2-40B4-BE49-F238E27FC236}">
                <a16:creationId xmlns:a16="http://schemas.microsoft.com/office/drawing/2014/main" id="{36452A13-745E-97C2-496B-DD72E31C87D0}"/>
              </a:ext>
            </a:extLst>
          </p:cNvPr>
          <p:cNvSpPr txBox="1">
            <a:spLocks/>
          </p:cNvSpPr>
          <p:nvPr/>
        </p:nvSpPr>
        <p:spPr>
          <a:xfrm>
            <a:off x="156660" y="2081413"/>
            <a:ext cx="4697771" cy="1717393"/>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6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600" b="1"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6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Shelf share is seen as a basic metric converted into a percentage of the linear meter that your brand occupies versus the shelf length in meters.</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6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5" name="Group 4">
            <a:extLst>
              <a:ext uri="{FF2B5EF4-FFF2-40B4-BE49-F238E27FC236}">
                <a16:creationId xmlns:a16="http://schemas.microsoft.com/office/drawing/2014/main" id="{F7C6BC02-597E-1185-80D8-2C166B7B675D}"/>
              </a:ext>
            </a:extLst>
          </p:cNvPr>
          <p:cNvGrpSpPr/>
          <p:nvPr/>
        </p:nvGrpSpPr>
        <p:grpSpPr>
          <a:xfrm>
            <a:off x="334381" y="1401110"/>
            <a:ext cx="4187321" cy="769130"/>
            <a:chOff x="327632" y="928571"/>
            <a:chExt cx="3847833" cy="769130"/>
          </a:xfrm>
        </p:grpSpPr>
        <p:sp>
          <p:nvSpPr>
            <p:cNvPr id="6" name="Rounded Rectangle 25">
              <a:extLst>
                <a:ext uri="{FF2B5EF4-FFF2-40B4-BE49-F238E27FC236}">
                  <a16:creationId xmlns:a16="http://schemas.microsoft.com/office/drawing/2014/main" id="{9B21D335-50FF-35FB-FC01-AEBF50C2F345}"/>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7" name="12-Point Star 26">
              <a:extLst>
                <a:ext uri="{FF2B5EF4-FFF2-40B4-BE49-F238E27FC236}">
                  <a16:creationId xmlns:a16="http://schemas.microsoft.com/office/drawing/2014/main" id="{95A23BD1-824D-E828-5605-BF1ED024FC2C}"/>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 name="5-Point Star 31">
              <a:extLst>
                <a:ext uri="{FF2B5EF4-FFF2-40B4-BE49-F238E27FC236}">
                  <a16:creationId xmlns:a16="http://schemas.microsoft.com/office/drawing/2014/main" id="{CB45875F-2575-6C36-0B4F-9405B51DF2F2}"/>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9" name="TextBox 8">
              <a:extLst>
                <a:ext uri="{FF2B5EF4-FFF2-40B4-BE49-F238E27FC236}">
                  <a16:creationId xmlns:a16="http://schemas.microsoft.com/office/drawing/2014/main" id="{7036D38D-09F3-F8A0-02A1-6493457510D3}"/>
                </a:ext>
              </a:extLst>
            </p:cNvPr>
            <p:cNvSpPr txBox="1"/>
            <p:nvPr/>
          </p:nvSpPr>
          <p:spPr>
            <a:xfrm>
              <a:off x="1101343" y="1148501"/>
              <a:ext cx="2981657" cy="338554"/>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Shelf Share </a:t>
              </a:r>
            </a:p>
          </p:txBody>
        </p:sp>
      </p:grpSp>
      <p:grpSp>
        <p:nvGrpSpPr>
          <p:cNvPr id="10" name="Group 9">
            <a:extLst>
              <a:ext uri="{FF2B5EF4-FFF2-40B4-BE49-F238E27FC236}">
                <a16:creationId xmlns:a16="http://schemas.microsoft.com/office/drawing/2014/main" id="{02E5CF58-1E1E-E710-CE50-66FC94303B33}"/>
              </a:ext>
            </a:extLst>
          </p:cNvPr>
          <p:cNvGrpSpPr/>
          <p:nvPr/>
        </p:nvGrpSpPr>
        <p:grpSpPr>
          <a:xfrm>
            <a:off x="5457846" y="1534325"/>
            <a:ext cx="5781284" cy="591475"/>
            <a:chOff x="5457846" y="1907190"/>
            <a:chExt cx="5781284" cy="591475"/>
          </a:xfrm>
        </p:grpSpPr>
        <p:sp>
          <p:nvSpPr>
            <p:cNvPr id="11" name="Rounded Rectangle 25">
              <a:extLst>
                <a:ext uri="{FF2B5EF4-FFF2-40B4-BE49-F238E27FC236}">
                  <a16:creationId xmlns:a16="http://schemas.microsoft.com/office/drawing/2014/main" id="{2FA395E2-4A57-CAA1-34AF-69BF3CC9D0B0}"/>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04FE533F-426B-FB5D-44FE-FB16C7764F8F}"/>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sp>
        <p:nvSpPr>
          <p:cNvPr id="13" name="Rectangle 12">
            <a:extLst>
              <a:ext uri="{FF2B5EF4-FFF2-40B4-BE49-F238E27FC236}">
                <a16:creationId xmlns:a16="http://schemas.microsoft.com/office/drawing/2014/main" id="{C8628153-0ADB-7606-CFD0-F01B10150C93}"/>
              </a:ext>
            </a:extLst>
          </p:cNvPr>
          <p:cNvSpPr/>
          <p:nvPr/>
        </p:nvSpPr>
        <p:spPr>
          <a:xfrm>
            <a:off x="6593857" y="281446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14" name="Rectangle 13">
            <a:extLst>
              <a:ext uri="{FF2B5EF4-FFF2-40B4-BE49-F238E27FC236}">
                <a16:creationId xmlns:a16="http://schemas.microsoft.com/office/drawing/2014/main" id="{3735697C-0F4C-CA95-8C8D-84B3460DC6E4}"/>
              </a:ext>
            </a:extLst>
          </p:cNvPr>
          <p:cNvSpPr/>
          <p:nvPr/>
        </p:nvSpPr>
        <p:spPr>
          <a:xfrm>
            <a:off x="5205670" y="2817105"/>
            <a:ext cx="136124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Shelf Share</a:t>
            </a: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 %</a:t>
            </a:r>
          </a:p>
        </p:txBody>
      </p:sp>
      <p:sp>
        <p:nvSpPr>
          <p:cNvPr id="15" name="Rectangle 14">
            <a:extLst>
              <a:ext uri="{FF2B5EF4-FFF2-40B4-BE49-F238E27FC236}">
                <a16:creationId xmlns:a16="http://schemas.microsoft.com/office/drawing/2014/main" id="{B0A104CD-B74E-4EF8-16D1-EE9F8336C89A}"/>
              </a:ext>
            </a:extLst>
          </p:cNvPr>
          <p:cNvSpPr/>
          <p:nvPr/>
        </p:nvSpPr>
        <p:spPr>
          <a:xfrm>
            <a:off x="7220424" y="2586392"/>
            <a:ext cx="299342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Your brand in linear meters </a:t>
            </a:r>
            <a:endPar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endParaRPr>
          </a:p>
        </p:txBody>
      </p:sp>
      <p:sp>
        <p:nvSpPr>
          <p:cNvPr id="17" name="Rectangle 16">
            <a:extLst>
              <a:ext uri="{FF2B5EF4-FFF2-40B4-BE49-F238E27FC236}">
                <a16:creationId xmlns:a16="http://schemas.microsoft.com/office/drawing/2014/main" id="{5C7496CE-DA35-FBBE-06F8-9C624186F5DD}"/>
              </a:ext>
            </a:extLst>
          </p:cNvPr>
          <p:cNvSpPr/>
          <p:nvPr/>
        </p:nvSpPr>
        <p:spPr>
          <a:xfrm>
            <a:off x="7220425" y="3069588"/>
            <a:ext cx="3000068"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Total shelf space in linear meters</a:t>
            </a:r>
            <a:endPar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endParaRPr>
          </a:p>
        </p:txBody>
      </p:sp>
      <p:sp>
        <p:nvSpPr>
          <p:cNvPr id="19" name="Rectangle 18">
            <a:extLst>
              <a:ext uri="{FF2B5EF4-FFF2-40B4-BE49-F238E27FC236}">
                <a16:creationId xmlns:a16="http://schemas.microsoft.com/office/drawing/2014/main" id="{2329FCDB-DCFB-89E2-2C23-B116CB8F3726}"/>
              </a:ext>
            </a:extLst>
          </p:cNvPr>
          <p:cNvSpPr/>
          <p:nvPr/>
        </p:nvSpPr>
        <p:spPr>
          <a:xfrm>
            <a:off x="10258552" y="285751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x</a:t>
            </a:r>
          </a:p>
        </p:txBody>
      </p:sp>
      <p:sp>
        <p:nvSpPr>
          <p:cNvPr id="20" name="Rectangle 19">
            <a:extLst>
              <a:ext uri="{FF2B5EF4-FFF2-40B4-BE49-F238E27FC236}">
                <a16:creationId xmlns:a16="http://schemas.microsoft.com/office/drawing/2014/main" id="{8D91D47C-52AF-CCD6-068B-10C8FB841EC3}"/>
              </a:ext>
            </a:extLst>
          </p:cNvPr>
          <p:cNvSpPr/>
          <p:nvPr/>
        </p:nvSpPr>
        <p:spPr>
          <a:xfrm>
            <a:off x="10893165" y="2856369"/>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100</a:t>
            </a:r>
          </a:p>
        </p:txBody>
      </p:sp>
      <p:sp>
        <p:nvSpPr>
          <p:cNvPr id="21" name="Speech Bubble: Rectangle with Corners Rounded 20">
            <a:extLst>
              <a:ext uri="{FF2B5EF4-FFF2-40B4-BE49-F238E27FC236}">
                <a16:creationId xmlns:a16="http://schemas.microsoft.com/office/drawing/2014/main" id="{35078E12-1009-BA65-6F6C-C57B84B7B13C}"/>
              </a:ext>
            </a:extLst>
          </p:cNvPr>
          <p:cNvSpPr/>
          <p:nvPr/>
        </p:nvSpPr>
        <p:spPr>
          <a:xfrm>
            <a:off x="5276088" y="4279392"/>
            <a:ext cx="2770632" cy="1408176"/>
          </a:xfrm>
          <a:prstGeom prst="wedgeRoundRectCallout">
            <a:avLst>
              <a:gd name="adj1" fmla="val 38242"/>
              <a:gd name="adj2" fmla="val -94643"/>
              <a:gd name="adj3" fmla="val 16667"/>
            </a:avLst>
          </a:prstGeom>
          <a:solidFill>
            <a:srgbClr val="FFE5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Total category space Is the sum of all brands in the in a specific category translated into metr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lways clarify the brands you include in a particular category to avoid deletion or duplic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2050" name="Picture 2" descr="Diaper, Detergent, Softener household grocery categoy aisle at supermarket">
            <a:extLst>
              <a:ext uri="{FF2B5EF4-FFF2-40B4-BE49-F238E27FC236}">
                <a16:creationId xmlns:a16="http://schemas.microsoft.com/office/drawing/2014/main" id="{ED491299-8E2A-572B-2D1C-02227F2A0072}"/>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368284" y="3849624"/>
            <a:ext cx="3429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5B80665F-9C9D-D158-01E8-72A619E30B6C}"/>
              </a:ext>
            </a:extLst>
          </p:cNvPr>
          <p:cNvSpPr txBox="1"/>
          <p:nvPr/>
        </p:nvSpPr>
        <p:spPr>
          <a:xfrm>
            <a:off x="421341" y="3602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pic>
        <p:nvPicPr>
          <p:cNvPr id="25" name="Picture 24" descr="Logo&#10;&#10;Description automatically generated">
            <a:extLst>
              <a:ext uri="{FF2B5EF4-FFF2-40B4-BE49-F238E27FC236}">
                <a16:creationId xmlns:a16="http://schemas.microsoft.com/office/drawing/2014/main" id="{94D76F8A-72E9-58CD-9E8A-6F09553A58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39357" y="367415"/>
            <a:ext cx="1570594" cy="365556"/>
          </a:xfrm>
          <a:prstGeom prst="rect">
            <a:avLst/>
          </a:prstGeom>
        </p:spPr>
      </p:pic>
      <p:sp>
        <p:nvSpPr>
          <p:cNvPr id="26" name="Footer Placeholder 3">
            <a:extLst>
              <a:ext uri="{FF2B5EF4-FFF2-40B4-BE49-F238E27FC236}">
                <a16:creationId xmlns:a16="http://schemas.microsoft.com/office/drawing/2014/main" id="{CB92B2C7-D63F-84C8-0B8C-BD029DA37E88}"/>
              </a:ext>
            </a:extLst>
          </p:cNvPr>
          <p:cNvSpPr txBox="1">
            <a:spLocks/>
          </p:cNvSpPr>
          <p:nvPr/>
        </p:nvSpPr>
        <p:spPr>
          <a:xfrm>
            <a:off x="3916680" y="6645910"/>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
        <p:nvSpPr>
          <p:cNvPr id="27" name="Rectangle 26">
            <a:extLst>
              <a:ext uri="{FF2B5EF4-FFF2-40B4-BE49-F238E27FC236}">
                <a16:creationId xmlns:a16="http://schemas.microsoft.com/office/drawing/2014/main" id="{C3F1BEDA-C7AF-EC50-85AF-A6C1E636F2E7}"/>
              </a:ext>
            </a:extLst>
          </p:cNvPr>
          <p:cNvSpPr/>
          <p:nvPr/>
        </p:nvSpPr>
        <p:spPr>
          <a:xfrm>
            <a:off x="9582912" y="4453128"/>
            <a:ext cx="768096" cy="704088"/>
          </a:xfrm>
          <a:prstGeom prst="rect">
            <a:avLst/>
          </a:prstGeom>
          <a:solidFill>
            <a:schemeClr val="accent1">
              <a:alpha val="2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9" name="Straight Arrow Connector 28">
            <a:extLst>
              <a:ext uri="{FF2B5EF4-FFF2-40B4-BE49-F238E27FC236}">
                <a16:creationId xmlns:a16="http://schemas.microsoft.com/office/drawing/2014/main" id="{AE2F1B4C-E514-47E1-7AB1-E92F23B0D7AA}"/>
              </a:ext>
            </a:extLst>
          </p:cNvPr>
          <p:cNvCxnSpPr/>
          <p:nvPr/>
        </p:nvCxnSpPr>
        <p:spPr>
          <a:xfrm>
            <a:off x="8046720" y="4882896"/>
            <a:ext cx="1472184"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18484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53866C-1465-F2A8-5013-28F8A54E2624}"/>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Subtitle 2">
            <a:extLst>
              <a:ext uri="{FF2B5EF4-FFF2-40B4-BE49-F238E27FC236}">
                <a16:creationId xmlns:a16="http://schemas.microsoft.com/office/drawing/2014/main" id="{36452A13-745E-97C2-496B-DD72E31C87D0}"/>
              </a:ext>
            </a:extLst>
          </p:cNvPr>
          <p:cNvSpPr txBox="1">
            <a:spLocks/>
          </p:cNvSpPr>
          <p:nvPr/>
        </p:nvSpPr>
        <p:spPr>
          <a:xfrm>
            <a:off x="156660" y="2081413"/>
            <a:ext cx="4697771" cy="1963614"/>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6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600" b="1"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6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Category share is seen as a basic metric converted into a percentage of the linear meters that your brand occupies versus the total metres of the category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6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5" name="Group 4">
            <a:extLst>
              <a:ext uri="{FF2B5EF4-FFF2-40B4-BE49-F238E27FC236}">
                <a16:creationId xmlns:a16="http://schemas.microsoft.com/office/drawing/2014/main" id="{F7C6BC02-597E-1185-80D8-2C166B7B675D}"/>
              </a:ext>
            </a:extLst>
          </p:cNvPr>
          <p:cNvGrpSpPr/>
          <p:nvPr/>
        </p:nvGrpSpPr>
        <p:grpSpPr>
          <a:xfrm>
            <a:off x="334381" y="1401110"/>
            <a:ext cx="4187321" cy="769130"/>
            <a:chOff x="327632" y="928571"/>
            <a:chExt cx="3847833" cy="769130"/>
          </a:xfrm>
        </p:grpSpPr>
        <p:sp>
          <p:nvSpPr>
            <p:cNvPr id="6" name="Rounded Rectangle 25">
              <a:extLst>
                <a:ext uri="{FF2B5EF4-FFF2-40B4-BE49-F238E27FC236}">
                  <a16:creationId xmlns:a16="http://schemas.microsoft.com/office/drawing/2014/main" id="{9B21D335-50FF-35FB-FC01-AEBF50C2F345}"/>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7" name="12-Point Star 26">
              <a:extLst>
                <a:ext uri="{FF2B5EF4-FFF2-40B4-BE49-F238E27FC236}">
                  <a16:creationId xmlns:a16="http://schemas.microsoft.com/office/drawing/2014/main" id="{95A23BD1-824D-E828-5605-BF1ED024FC2C}"/>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 name="5-Point Star 31">
              <a:extLst>
                <a:ext uri="{FF2B5EF4-FFF2-40B4-BE49-F238E27FC236}">
                  <a16:creationId xmlns:a16="http://schemas.microsoft.com/office/drawing/2014/main" id="{CB45875F-2575-6C36-0B4F-9405B51DF2F2}"/>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9" name="TextBox 8">
              <a:extLst>
                <a:ext uri="{FF2B5EF4-FFF2-40B4-BE49-F238E27FC236}">
                  <a16:creationId xmlns:a16="http://schemas.microsoft.com/office/drawing/2014/main" id="{7036D38D-09F3-F8A0-02A1-6493457510D3}"/>
                </a:ext>
              </a:extLst>
            </p:cNvPr>
            <p:cNvSpPr txBox="1"/>
            <p:nvPr/>
          </p:nvSpPr>
          <p:spPr>
            <a:xfrm>
              <a:off x="1101343" y="1148501"/>
              <a:ext cx="2981657" cy="338554"/>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Category Share </a:t>
              </a:r>
            </a:p>
          </p:txBody>
        </p:sp>
      </p:grpSp>
      <p:grpSp>
        <p:nvGrpSpPr>
          <p:cNvPr id="10" name="Group 9">
            <a:extLst>
              <a:ext uri="{FF2B5EF4-FFF2-40B4-BE49-F238E27FC236}">
                <a16:creationId xmlns:a16="http://schemas.microsoft.com/office/drawing/2014/main" id="{02E5CF58-1E1E-E710-CE50-66FC94303B33}"/>
              </a:ext>
            </a:extLst>
          </p:cNvPr>
          <p:cNvGrpSpPr/>
          <p:nvPr/>
        </p:nvGrpSpPr>
        <p:grpSpPr>
          <a:xfrm>
            <a:off x="5457846" y="1534325"/>
            <a:ext cx="5781284" cy="591475"/>
            <a:chOff x="5457846" y="1907190"/>
            <a:chExt cx="5781284" cy="591475"/>
          </a:xfrm>
        </p:grpSpPr>
        <p:sp>
          <p:nvSpPr>
            <p:cNvPr id="11" name="Rounded Rectangle 25">
              <a:extLst>
                <a:ext uri="{FF2B5EF4-FFF2-40B4-BE49-F238E27FC236}">
                  <a16:creationId xmlns:a16="http://schemas.microsoft.com/office/drawing/2014/main" id="{2FA395E2-4A57-CAA1-34AF-69BF3CC9D0B0}"/>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04FE533F-426B-FB5D-44FE-FB16C7764F8F}"/>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sp>
        <p:nvSpPr>
          <p:cNvPr id="13" name="Rectangle 12">
            <a:extLst>
              <a:ext uri="{FF2B5EF4-FFF2-40B4-BE49-F238E27FC236}">
                <a16:creationId xmlns:a16="http://schemas.microsoft.com/office/drawing/2014/main" id="{C8628153-0ADB-7606-CFD0-F01B10150C93}"/>
              </a:ext>
            </a:extLst>
          </p:cNvPr>
          <p:cNvSpPr/>
          <p:nvPr/>
        </p:nvSpPr>
        <p:spPr>
          <a:xfrm>
            <a:off x="6593857" y="281446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14" name="Rectangle 13">
            <a:extLst>
              <a:ext uri="{FF2B5EF4-FFF2-40B4-BE49-F238E27FC236}">
                <a16:creationId xmlns:a16="http://schemas.microsoft.com/office/drawing/2014/main" id="{3735697C-0F4C-CA95-8C8D-84B3460DC6E4}"/>
              </a:ext>
            </a:extLst>
          </p:cNvPr>
          <p:cNvSpPr/>
          <p:nvPr/>
        </p:nvSpPr>
        <p:spPr>
          <a:xfrm>
            <a:off x="5205670" y="2817105"/>
            <a:ext cx="136124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Shelf Share</a:t>
            </a: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 %</a:t>
            </a:r>
          </a:p>
        </p:txBody>
      </p:sp>
      <p:sp>
        <p:nvSpPr>
          <p:cNvPr id="15" name="Rectangle 14">
            <a:extLst>
              <a:ext uri="{FF2B5EF4-FFF2-40B4-BE49-F238E27FC236}">
                <a16:creationId xmlns:a16="http://schemas.microsoft.com/office/drawing/2014/main" id="{B0A104CD-B74E-4EF8-16D1-EE9F8336C89A}"/>
              </a:ext>
            </a:extLst>
          </p:cNvPr>
          <p:cNvSpPr/>
          <p:nvPr/>
        </p:nvSpPr>
        <p:spPr>
          <a:xfrm>
            <a:off x="7220424" y="2586392"/>
            <a:ext cx="299342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Your brand in linear meters </a:t>
            </a:r>
            <a:endPar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endParaRPr>
          </a:p>
        </p:txBody>
      </p:sp>
      <p:sp>
        <p:nvSpPr>
          <p:cNvPr id="17" name="Rectangle 16">
            <a:extLst>
              <a:ext uri="{FF2B5EF4-FFF2-40B4-BE49-F238E27FC236}">
                <a16:creationId xmlns:a16="http://schemas.microsoft.com/office/drawing/2014/main" id="{5C7496CE-DA35-FBBE-06F8-9C624186F5DD}"/>
              </a:ext>
            </a:extLst>
          </p:cNvPr>
          <p:cNvSpPr/>
          <p:nvPr/>
        </p:nvSpPr>
        <p:spPr>
          <a:xfrm>
            <a:off x="7220425" y="3069588"/>
            <a:ext cx="3000068"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Total category space in linear meters</a:t>
            </a:r>
            <a:endPar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endParaRPr>
          </a:p>
        </p:txBody>
      </p:sp>
      <p:sp>
        <p:nvSpPr>
          <p:cNvPr id="19" name="Rectangle 18">
            <a:extLst>
              <a:ext uri="{FF2B5EF4-FFF2-40B4-BE49-F238E27FC236}">
                <a16:creationId xmlns:a16="http://schemas.microsoft.com/office/drawing/2014/main" id="{2329FCDB-DCFB-89E2-2C23-B116CB8F3726}"/>
              </a:ext>
            </a:extLst>
          </p:cNvPr>
          <p:cNvSpPr/>
          <p:nvPr/>
        </p:nvSpPr>
        <p:spPr>
          <a:xfrm>
            <a:off x="10258552" y="285751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x</a:t>
            </a:r>
          </a:p>
        </p:txBody>
      </p:sp>
      <p:sp>
        <p:nvSpPr>
          <p:cNvPr id="20" name="Rectangle 19">
            <a:extLst>
              <a:ext uri="{FF2B5EF4-FFF2-40B4-BE49-F238E27FC236}">
                <a16:creationId xmlns:a16="http://schemas.microsoft.com/office/drawing/2014/main" id="{8D91D47C-52AF-CCD6-068B-10C8FB841EC3}"/>
              </a:ext>
            </a:extLst>
          </p:cNvPr>
          <p:cNvSpPr/>
          <p:nvPr/>
        </p:nvSpPr>
        <p:spPr>
          <a:xfrm>
            <a:off x="10893165" y="2856369"/>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100</a:t>
            </a:r>
          </a:p>
        </p:txBody>
      </p:sp>
      <p:sp>
        <p:nvSpPr>
          <p:cNvPr id="21" name="Speech Bubble: Rectangle with Corners Rounded 20">
            <a:extLst>
              <a:ext uri="{FF2B5EF4-FFF2-40B4-BE49-F238E27FC236}">
                <a16:creationId xmlns:a16="http://schemas.microsoft.com/office/drawing/2014/main" id="{35078E12-1009-BA65-6F6C-C57B84B7B13C}"/>
              </a:ext>
            </a:extLst>
          </p:cNvPr>
          <p:cNvSpPr/>
          <p:nvPr/>
        </p:nvSpPr>
        <p:spPr>
          <a:xfrm>
            <a:off x="5276088" y="4279392"/>
            <a:ext cx="2770632" cy="1408176"/>
          </a:xfrm>
          <a:prstGeom prst="wedgeRoundRectCallout">
            <a:avLst>
              <a:gd name="adj1" fmla="val 38242"/>
              <a:gd name="adj2" fmla="val -94643"/>
              <a:gd name="adj3" fmla="val 16667"/>
            </a:avLst>
          </a:prstGeom>
          <a:solidFill>
            <a:srgbClr val="FFE5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Total category space Is the sum of all brands in the in a specific category translated into metr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lways clarify the brands you include in a particular category to avoid deletion or duplic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2050" name="Picture 2" descr="Diaper, Detergent, Softener household grocery categoy aisle at supermarket">
            <a:extLst>
              <a:ext uri="{FF2B5EF4-FFF2-40B4-BE49-F238E27FC236}">
                <a16:creationId xmlns:a16="http://schemas.microsoft.com/office/drawing/2014/main" id="{ED491299-8E2A-572B-2D1C-02227F2A0072}"/>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368284" y="3849624"/>
            <a:ext cx="3429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5B80665F-9C9D-D158-01E8-72A619E30B6C}"/>
              </a:ext>
            </a:extLst>
          </p:cNvPr>
          <p:cNvSpPr txBox="1"/>
          <p:nvPr/>
        </p:nvSpPr>
        <p:spPr>
          <a:xfrm>
            <a:off x="421341" y="3602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pic>
        <p:nvPicPr>
          <p:cNvPr id="25" name="Picture 24" descr="Logo&#10;&#10;Description automatically generated">
            <a:extLst>
              <a:ext uri="{FF2B5EF4-FFF2-40B4-BE49-F238E27FC236}">
                <a16:creationId xmlns:a16="http://schemas.microsoft.com/office/drawing/2014/main" id="{94D76F8A-72E9-58CD-9E8A-6F09553A58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39357" y="367415"/>
            <a:ext cx="1570594" cy="365556"/>
          </a:xfrm>
          <a:prstGeom prst="rect">
            <a:avLst/>
          </a:prstGeom>
        </p:spPr>
      </p:pic>
      <p:sp>
        <p:nvSpPr>
          <p:cNvPr id="26" name="Footer Placeholder 3">
            <a:extLst>
              <a:ext uri="{FF2B5EF4-FFF2-40B4-BE49-F238E27FC236}">
                <a16:creationId xmlns:a16="http://schemas.microsoft.com/office/drawing/2014/main" id="{CB92B2C7-D63F-84C8-0B8C-BD029DA37E88}"/>
              </a:ext>
            </a:extLst>
          </p:cNvPr>
          <p:cNvSpPr txBox="1">
            <a:spLocks/>
          </p:cNvSpPr>
          <p:nvPr/>
        </p:nvSpPr>
        <p:spPr>
          <a:xfrm>
            <a:off x="3916680" y="6645910"/>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
        <p:nvSpPr>
          <p:cNvPr id="27" name="Rectangle 26">
            <a:extLst>
              <a:ext uri="{FF2B5EF4-FFF2-40B4-BE49-F238E27FC236}">
                <a16:creationId xmlns:a16="http://schemas.microsoft.com/office/drawing/2014/main" id="{5190456E-8E9D-C88B-C678-731D18429516}"/>
              </a:ext>
            </a:extLst>
          </p:cNvPr>
          <p:cNvSpPr/>
          <p:nvPr/>
        </p:nvSpPr>
        <p:spPr>
          <a:xfrm>
            <a:off x="9582912" y="4453128"/>
            <a:ext cx="1106424" cy="1682496"/>
          </a:xfrm>
          <a:prstGeom prst="rect">
            <a:avLst/>
          </a:prstGeom>
          <a:solidFill>
            <a:schemeClr val="accent1">
              <a:alpha val="2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8" name="Straight Arrow Connector 27">
            <a:extLst>
              <a:ext uri="{FF2B5EF4-FFF2-40B4-BE49-F238E27FC236}">
                <a16:creationId xmlns:a16="http://schemas.microsoft.com/office/drawing/2014/main" id="{90C310A2-63A3-804A-7AC5-7ED77F94243A}"/>
              </a:ext>
            </a:extLst>
          </p:cNvPr>
          <p:cNvCxnSpPr/>
          <p:nvPr/>
        </p:nvCxnSpPr>
        <p:spPr>
          <a:xfrm>
            <a:off x="8046720" y="4882896"/>
            <a:ext cx="1472184"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71842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53866C-1465-F2A8-5013-28F8A54E2624}"/>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Subtitle 2">
            <a:extLst>
              <a:ext uri="{FF2B5EF4-FFF2-40B4-BE49-F238E27FC236}">
                <a16:creationId xmlns:a16="http://schemas.microsoft.com/office/drawing/2014/main" id="{36452A13-745E-97C2-496B-DD72E31C87D0}"/>
              </a:ext>
            </a:extLst>
          </p:cNvPr>
          <p:cNvSpPr txBox="1">
            <a:spLocks/>
          </p:cNvSpPr>
          <p:nvPr/>
        </p:nvSpPr>
        <p:spPr>
          <a:xfrm>
            <a:off x="156660" y="2081413"/>
            <a:ext cx="4697771" cy="2979277"/>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1"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Category value share </a:t>
            </a:r>
          </a:p>
          <a:p>
            <a:pPr marL="342900" marR="0" lvl="0" indent="-3429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stablish the sum of all products in a specific category multiplied by their volume and the net price ( US $ or other currency ) in a given time period.</a:t>
            </a:r>
          </a:p>
          <a:p>
            <a:pPr marL="342900" marR="0" lvl="0" indent="-3429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stablish the above by brand , this gives you individual brand share </a:t>
            </a:r>
          </a:p>
          <a:p>
            <a:pPr marL="342900" marR="0" lvl="0" indent="-3429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Divide the brand share by the total category sales , this will give you individual brand value share </a:t>
            </a:r>
          </a:p>
          <a:p>
            <a:pPr marL="342900" marR="0" lvl="0" indent="-342900" algn="l" defTabSz="1087636" rtl="0" eaLnBrk="1" fontAlgn="auto" latinLnBrk="0" hangingPunct="1">
              <a:lnSpc>
                <a:spcPct val="100000"/>
              </a:lnSpc>
              <a:spcBef>
                <a:spcPct val="20000"/>
              </a:spcBef>
              <a:spcAft>
                <a:spcPts val="0"/>
              </a:spcAft>
              <a:buClrTx/>
              <a:buSzTx/>
              <a:buFont typeface="+mj-lt"/>
              <a:buAutoNum type="arabicPeriod"/>
              <a:tabLst/>
              <a:defRPr/>
            </a:pPr>
            <a:endPar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5" name="Group 4">
            <a:extLst>
              <a:ext uri="{FF2B5EF4-FFF2-40B4-BE49-F238E27FC236}">
                <a16:creationId xmlns:a16="http://schemas.microsoft.com/office/drawing/2014/main" id="{F7C6BC02-597E-1185-80D8-2C166B7B675D}"/>
              </a:ext>
            </a:extLst>
          </p:cNvPr>
          <p:cNvGrpSpPr/>
          <p:nvPr/>
        </p:nvGrpSpPr>
        <p:grpSpPr>
          <a:xfrm>
            <a:off x="334381" y="1401110"/>
            <a:ext cx="4187321" cy="769130"/>
            <a:chOff x="327632" y="928571"/>
            <a:chExt cx="3847833" cy="769130"/>
          </a:xfrm>
        </p:grpSpPr>
        <p:sp>
          <p:nvSpPr>
            <p:cNvPr id="6" name="Rounded Rectangle 25">
              <a:extLst>
                <a:ext uri="{FF2B5EF4-FFF2-40B4-BE49-F238E27FC236}">
                  <a16:creationId xmlns:a16="http://schemas.microsoft.com/office/drawing/2014/main" id="{9B21D335-50FF-35FB-FC01-AEBF50C2F345}"/>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7" name="12-Point Star 26">
              <a:extLst>
                <a:ext uri="{FF2B5EF4-FFF2-40B4-BE49-F238E27FC236}">
                  <a16:creationId xmlns:a16="http://schemas.microsoft.com/office/drawing/2014/main" id="{95A23BD1-824D-E828-5605-BF1ED024FC2C}"/>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 name="5-Point Star 31">
              <a:extLst>
                <a:ext uri="{FF2B5EF4-FFF2-40B4-BE49-F238E27FC236}">
                  <a16:creationId xmlns:a16="http://schemas.microsoft.com/office/drawing/2014/main" id="{CB45875F-2575-6C36-0B4F-9405B51DF2F2}"/>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9" name="TextBox 8">
              <a:extLst>
                <a:ext uri="{FF2B5EF4-FFF2-40B4-BE49-F238E27FC236}">
                  <a16:creationId xmlns:a16="http://schemas.microsoft.com/office/drawing/2014/main" id="{7036D38D-09F3-F8A0-02A1-6493457510D3}"/>
                </a:ext>
              </a:extLst>
            </p:cNvPr>
            <p:cNvSpPr txBox="1"/>
            <p:nvPr/>
          </p:nvSpPr>
          <p:spPr>
            <a:xfrm>
              <a:off x="1101343" y="1148501"/>
              <a:ext cx="2981657" cy="338554"/>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Category Value </a:t>
              </a: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Share </a:t>
              </a:r>
            </a:p>
          </p:txBody>
        </p:sp>
      </p:grpSp>
      <p:grpSp>
        <p:nvGrpSpPr>
          <p:cNvPr id="10" name="Group 9">
            <a:extLst>
              <a:ext uri="{FF2B5EF4-FFF2-40B4-BE49-F238E27FC236}">
                <a16:creationId xmlns:a16="http://schemas.microsoft.com/office/drawing/2014/main" id="{02E5CF58-1E1E-E710-CE50-66FC94303B33}"/>
              </a:ext>
            </a:extLst>
          </p:cNvPr>
          <p:cNvGrpSpPr/>
          <p:nvPr/>
        </p:nvGrpSpPr>
        <p:grpSpPr>
          <a:xfrm>
            <a:off x="5457846" y="1534325"/>
            <a:ext cx="5781284" cy="591475"/>
            <a:chOff x="5457846" y="1907190"/>
            <a:chExt cx="5781284" cy="591475"/>
          </a:xfrm>
        </p:grpSpPr>
        <p:sp>
          <p:nvSpPr>
            <p:cNvPr id="11" name="Rounded Rectangle 25">
              <a:extLst>
                <a:ext uri="{FF2B5EF4-FFF2-40B4-BE49-F238E27FC236}">
                  <a16:creationId xmlns:a16="http://schemas.microsoft.com/office/drawing/2014/main" id="{2FA395E2-4A57-CAA1-34AF-69BF3CC9D0B0}"/>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04FE533F-426B-FB5D-44FE-FB16C7764F8F}"/>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sp>
        <p:nvSpPr>
          <p:cNvPr id="13" name="Rectangle 12">
            <a:extLst>
              <a:ext uri="{FF2B5EF4-FFF2-40B4-BE49-F238E27FC236}">
                <a16:creationId xmlns:a16="http://schemas.microsoft.com/office/drawing/2014/main" id="{C8628153-0ADB-7606-CFD0-F01B10150C93}"/>
              </a:ext>
            </a:extLst>
          </p:cNvPr>
          <p:cNvSpPr/>
          <p:nvPr/>
        </p:nvSpPr>
        <p:spPr>
          <a:xfrm>
            <a:off x="6593857" y="281446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14" name="Rectangle 13">
            <a:extLst>
              <a:ext uri="{FF2B5EF4-FFF2-40B4-BE49-F238E27FC236}">
                <a16:creationId xmlns:a16="http://schemas.microsoft.com/office/drawing/2014/main" id="{3735697C-0F4C-CA95-8C8D-84B3460DC6E4}"/>
              </a:ext>
            </a:extLst>
          </p:cNvPr>
          <p:cNvSpPr/>
          <p:nvPr/>
        </p:nvSpPr>
        <p:spPr>
          <a:xfrm>
            <a:off x="5138928" y="2817105"/>
            <a:ext cx="1427985"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Category Value Share</a:t>
            </a: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 $</a:t>
            </a:r>
          </a:p>
        </p:txBody>
      </p:sp>
      <p:sp>
        <p:nvSpPr>
          <p:cNvPr id="15" name="Rectangle 14">
            <a:extLst>
              <a:ext uri="{FF2B5EF4-FFF2-40B4-BE49-F238E27FC236}">
                <a16:creationId xmlns:a16="http://schemas.microsoft.com/office/drawing/2014/main" id="{B0A104CD-B74E-4EF8-16D1-EE9F8336C89A}"/>
              </a:ext>
            </a:extLst>
          </p:cNvPr>
          <p:cNvSpPr/>
          <p:nvPr/>
        </p:nvSpPr>
        <p:spPr>
          <a:xfrm>
            <a:off x="7220424" y="2586392"/>
            <a:ext cx="299342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Total brand sale in $ </a:t>
            </a:r>
            <a:endPar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endParaRPr>
          </a:p>
        </p:txBody>
      </p:sp>
      <p:sp>
        <p:nvSpPr>
          <p:cNvPr id="17" name="Rectangle 16">
            <a:extLst>
              <a:ext uri="{FF2B5EF4-FFF2-40B4-BE49-F238E27FC236}">
                <a16:creationId xmlns:a16="http://schemas.microsoft.com/office/drawing/2014/main" id="{5C7496CE-DA35-FBBE-06F8-9C624186F5DD}"/>
              </a:ext>
            </a:extLst>
          </p:cNvPr>
          <p:cNvSpPr/>
          <p:nvPr/>
        </p:nvSpPr>
        <p:spPr>
          <a:xfrm>
            <a:off x="7220425" y="3069588"/>
            <a:ext cx="3000068"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Total category sale in $ </a:t>
            </a:r>
            <a:endPar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endParaRPr>
          </a:p>
        </p:txBody>
      </p:sp>
      <p:sp>
        <p:nvSpPr>
          <p:cNvPr id="19" name="Rectangle 18">
            <a:extLst>
              <a:ext uri="{FF2B5EF4-FFF2-40B4-BE49-F238E27FC236}">
                <a16:creationId xmlns:a16="http://schemas.microsoft.com/office/drawing/2014/main" id="{2329FCDB-DCFB-89E2-2C23-B116CB8F3726}"/>
              </a:ext>
            </a:extLst>
          </p:cNvPr>
          <p:cNvSpPr/>
          <p:nvPr/>
        </p:nvSpPr>
        <p:spPr>
          <a:xfrm>
            <a:off x="10258552" y="285751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x</a:t>
            </a:r>
          </a:p>
        </p:txBody>
      </p:sp>
      <p:sp>
        <p:nvSpPr>
          <p:cNvPr id="20" name="Rectangle 19">
            <a:extLst>
              <a:ext uri="{FF2B5EF4-FFF2-40B4-BE49-F238E27FC236}">
                <a16:creationId xmlns:a16="http://schemas.microsoft.com/office/drawing/2014/main" id="{8D91D47C-52AF-CCD6-068B-10C8FB841EC3}"/>
              </a:ext>
            </a:extLst>
          </p:cNvPr>
          <p:cNvSpPr/>
          <p:nvPr/>
        </p:nvSpPr>
        <p:spPr>
          <a:xfrm>
            <a:off x="10893165" y="2856369"/>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100</a:t>
            </a:r>
          </a:p>
        </p:txBody>
      </p:sp>
      <p:sp>
        <p:nvSpPr>
          <p:cNvPr id="21" name="Speech Bubble: Rectangle with Corners Rounded 20">
            <a:extLst>
              <a:ext uri="{FF2B5EF4-FFF2-40B4-BE49-F238E27FC236}">
                <a16:creationId xmlns:a16="http://schemas.microsoft.com/office/drawing/2014/main" id="{35078E12-1009-BA65-6F6C-C57B84B7B13C}"/>
              </a:ext>
            </a:extLst>
          </p:cNvPr>
          <p:cNvSpPr/>
          <p:nvPr/>
        </p:nvSpPr>
        <p:spPr>
          <a:xfrm>
            <a:off x="5276088" y="3895344"/>
            <a:ext cx="2770632" cy="2487168"/>
          </a:xfrm>
          <a:prstGeom prst="wedgeRoundRectCallout">
            <a:avLst>
              <a:gd name="adj1" fmla="val 32961"/>
              <a:gd name="adj2" fmla="val -65231"/>
              <a:gd name="adj3" fmla="val 16667"/>
            </a:avLst>
          </a:prstGeom>
          <a:solidFill>
            <a:srgbClr val="FFE5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Marketers use two forms of category share depending on the discussion and the analys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value share establishes the share of sales in absolute terms versus total category size and sales this allows marketers to view 1 aspec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volume share establishes the share of sales irrelevant of the package size this when viewed as a category does not reflect the right picture for it to be accurate you will need to view it in a similar sized sub catego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Therefore it's important to use both metrics carefully </a:t>
            </a:r>
          </a:p>
        </p:txBody>
      </p:sp>
      <p:pic>
        <p:nvPicPr>
          <p:cNvPr id="2050" name="Picture 2" descr="Diaper, Detergent, Softener household grocery categoy aisle at supermarket">
            <a:extLst>
              <a:ext uri="{FF2B5EF4-FFF2-40B4-BE49-F238E27FC236}">
                <a16:creationId xmlns:a16="http://schemas.microsoft.com/office/drawing/2014/main" id="{ED491299-8E2A-572B-2D1C-02227F2A0072}"/>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368284" y="3849624"/>
            <a:ext cx="3429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5B80665F-9C9D-D158-01E8-72A619E30B6C}"/>
              </a:ext>
            </a:extLst>
          </p:cNvPr>
          <p:cNvSpPr txBox="1"/>
          <p:nvPr/>
        </p:nvSpPr>
        <p:spPr>
          <a:xfrm>
            <a:off x="421341" y="3602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pic>
        <p:nvPicPr>
          <p:cNvPr id="25" name="Picture 24" descr="Logo&#10;&#10;Description automatically generated">
            <a:extLst>
              <a:ext uri="{FF2B5EF4-FFF2-40B4-BE49-F238E27FC236}">
                <a16:creationId xmlns:a16="http://schemas.microsoft.com/office/drawing/2014/main" id="{94D76F8A-72E9-58CD-9E8A-6F09553A58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39357" y="367415"/>
            <a:ext cx="1570594" cy="365556"/>
          </a:xfrm>
          <a:prstGeom prst="rect">
            <a:avLst/>
          </a:prstGeom>
        </p:spPr>
      </p:pic>
      <p:sp>
        <p:nvSpPr>
          <p:cNvPr id="26" name="Footer Placeholder 3">
            <a:extLst>
              <a:ext uri="{FF2B5EF4-FFF2-40B4-BE49-F238E27FC236}">
                <a16:creationId xmlns:a16="http://schemas.microsoft.com/office/drawing/2014/main" id="{CB92B2C7-D63F-84C8-0B8C-BD029DA37E88}"/>
              </a:ext>
            </a:extLst>
          </p:cNvPr>
          <p:cNvSpPr txBox="1">
            <a:spLocks/>
          </p:cNvSpPr>
          <p:nvPr/>
        </p:nvSpPr>
        <p:spPr>
          <a:xfrm>
            <a:off x="3916680" y="6645910"/>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
        <p:nvSpPr>
          <p:cNvPr id="27" name="Rectangle 26">
            <a:extLst>
              <a:ext uri="{FF2B5EF4-FFF2-40B4-BE49-F238E27FC236}">
                <a16:creationId xmlns:a16="http://schemas.microsoft.com/office/drawing/2014/main" id="{5190456E-8E9D-C88B-C678-731D18429516}"/>
              </a:ext>
            </a:extLst>
          </p:cNvPr>
          <p:cNvSpPr/>
          <p:nvPr/>
        </p:nvSpPr>
        <p:spPr>
          <a:xfrm>
            <a:off x="9582912" y="4453128"/>
            <a:ext cx="1106424" cy="1682496"/>
          </a:xfrm>
          <a:prstGeom prst="rect">
            <a:avLst/>
          </a:prstGeom>
          <a:solidFill>
            <a:schemeClr val="accent1">
              <a:alpha val="2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8" name="Straight Arrow Connector 27">
            <a:extLst>
              <a:ext uri="{FF2B5EF4-FFF2-40B4-BE49-F238E27FC236}">
                <a16:creationId xmlns:a16="http://schemas.microsoft.com/office/drawing/2014/main" id="{90C310A2-63A3-804A-7AC5-7ED77F94243A}"/>
              </a:ext>
            </a:extLst>
          </p:cNvPr>
          <p:cNvCxnSpPr/>
          <p:nvPr/>
        </p:nvCxnSpPr>
        <p:spPr>
          <a:xfrm>
            <a:off x="8046720" y="4882896"/>
            <a:ext cx="1472184"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809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53866C-1465-F2A8-5013-28F8A54E2624}"/>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Subtitle 2">
            <a:extLst>
              <a:ext uri="{FF2B5EF4-FFF2-40B4-BE49-F238E27FC236}">
                <a16:creationId xmlns:a16="http://schemas.microsoft.com/office/drawing/2014/main" id="{36452A13-745E-97C2-496B-DD72E31C87D0}"/>
              </a:ext>
            </a:extLst>
          </p:cNvPr>
          <p:cNvSpPr txBox="1">
            <a:spLocks/>
          </p:cNvSpPr>
          <p:nvPr/>
        </p:nvSpPr>
        <p:spPr>
          <a:xfrm>
            <a:off x="156660" y="2081413"/>
            <a:ext cx="4697771" cy="2763834"/>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1"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Category volume share </a:t>
            </a:r>
          </a:p>
          <a:p>
            <a:pPr marL="342900" marR="0" lvl="0" indent="-3429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stablish the sum of all products in a specific category multiplied by their volume in a given time period.</a:t>
            </a:r>
          </a:p>
          <a:p>
            <a:pPr marL="342900" marR="0" lvl="0" indent="-3429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stablish the above by brand , this gives you individual brand share </a:t>
            </a:r>
          </a:p>
          <a:p>
            <a:pPr marL="342900" marR="0" lvl="0" indent="-3429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Divide the brand share by the total category sales in volume this will give you individual brand value share </a:t>
            </a:r>
          </a:p>
          <a:p>
            <a:pPr marL="342900" marR="0" lvl="0" indent="-342900" algn="l" defTabSz="1087636" rtl="0" eaLnBrk="1" fontAlgn="auto" latinLnBrk="0" hangingPunct="1">
              <a:lnSpc>
                <a:spcPct val="100000"/>
              </a:lnSpc>
              <a:spcBef>
                <a:spcPct val="20000"/>
              </a:spcBef>
              <a:spcAft>
                <a:spcPts val="0"/>
              </a:spcAft>
              <a:buClrTx/>
              <a:buSzTx/>
              <a:buFont typeface="+mj-lt"/>
              <a:buAutoNum type="arabicPeriod"/>
              <a:tabLst/>
              <a:defRPr/>
            </a:pPr>
            <a:endPar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5" name="Group 4">
            <a:extLst>
              <a:ext uri="{FF2B5EF4-FFF2-40B4-BE49-F238E27FC236}">
                <a16:creationId xmlns:a16="http://schemas.microsoft.com/office/drawing/2014/main" id="{F7C6BC02-597E-1185-80D8-2C166B7B675D}"/>
              </a:ext>
            </a:extLst>
          </p:cNvPr>
          <p:cNvGrpSpPr/>
          <p:nvPr/>
        </p:nvGrpSpPr>
        <p:grpSpPr>
          <a:xfrm>
            <a:off x="334381" y="1401110"/>
            <a:ext cx="4187321" cy="769130"/>
            <a:chOff x="327632" y="928571"/>
            <a:chExt cx="3847833" cy="769130"/>
          </a:xfrm>
        </p:grpSpPr>
        <p:sp>
          <p:nvSpPr>
            <p:cNvPr id="6" name="Rounded Rectangle 25">
              <a:extLst>
                <a:ext uri="{FF2B5EF4-FFF2-40B4-BE49-F238E27FC236}">
                  <a16:creationId xmlns:a16="http://schemas.microsoft.com/office/drawing/2014/main" id="{9B21D335-50FF-35FB-FC01-AEBF50C2F345}"/>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7" name="12-Point Star 26">
              <a:extLst>
                <a:ext uri="{FF2B5EF4-FFF2-40B4-BE49-F238E27FC236}">
                  <a16:creationId xmlns:a16="http://schemas.microsoft.com/office/drawing/2014/main" id="{95A23BD1-824D-E828-5605-BF1ED024FC2C}"/>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 name="5-Point Star 31">
              <a:extLst>
                <a:ext uri="{FF2B5EF4-FFF2-40B4-BE49-F238E27FC236}">
                  <a16:creationId xmlns:a16="http://schemas.microsoft.com/office/drawing/2014/main" id="{CB45875F-2575-6C36-0B4F-9405B51DF2F2}"/>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9" name="TextBox 8">
              <a:extLst>
                <a:ext uri="{FF2B5EF4-FFF2-40B4-BE49-F238E27FC236}">
                  <a16:creationId xmlns:a16="http://schemas.microsoft.com/office/drawing/2014/main" id="{7036D38D-09F3-F8A0-02A1-6493457510D3}"/>
                </a:ext>
              </a:extLst>
            </p:cNvPr>
            <p:cNvSpPr txBox="1"/>
            <p:nvPr/>
          </p:nvSpPr>
          <p:spPr>
            <a:xfrm>
              <a:off x="1101343" y="1148501"/>
              <a:ext cx="2981657" cy="338554"/>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Category Volume </a:t>
              </a: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Share </a:t>
              </a:r>
            </a:p>
          </p:txBody>
        </p:sp>
      </p:grpSp>
      <p:grpSp>
        <p:nvGrpSpPr>
          <p:cNvPr id="10" name="Group 9">
            <a:extLst>
              <a:ext uri="{FF2B5EF4-FFF2-40B4-BE49-F238E27FC236}">
                <a16:creationId xmlns:a16="http://schemas.microsoft.com/office/drawing/2014/main" id="{02E5CF58-1E1E-E710-CE50-66FC94303B33}"/>
              </a:ext>
            </a:extLst>
          </p:cNvPr>
          <p:cNvGrpSpPr/>
          <p:nvPr/>
        </p:nvGrpSpPr>
        <p:grpSpPr>
          <a:xfrm>
            <a:off x="5457846" y="1534325"/>
            <a:ext cx="5781284" cy="591475"/>
            <a:chOff x="5457846" y="1907190"/>
            <a:chExt cx="5781284" cy="591475"/>
          </a:xfrm>
        </p:grpSpPr>
        <p:sp>
          <p:nvSpPr>
            <p:cNvPr id="11" name="Rounded Rectangle 25">
              <a:extLst>
                <a:ext uri="{FF2B5EF4-FFF2-40B4-BE49-F238E27FC236}">
                  <a16:creationId xmlns:a16="http://schemas.microsoft.com/office/drawing/2014/main" id="{2FA395E2-4A57-CAA1-34AF-69BF3CC9D0B0}"/>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04FE533F-426B-FB5D-44FE-FB16C7764F8F}"/>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sp>
        <p:nvSpPr>
          <p:cNvPr id="13" name="Rectangle 12">
            <a:extLst>
              <a:ext uri="{FF2B5EF4-FFF2-40B4-BE49-F238E27FC236}">
                <a16:creationId xmlns:a16="http://schemas.microsoft.com/office/drawing/2014/main" id="{C8628153-0ADB-7606-CFD0-F01B10150C93}"/>
              </a:ext>
            </a:extLst>
          </p:cNvPr>
          <p:cNvSpPr/>
          <p:nvPr/>
        </p:nvSpPr>
        <p:spPr>
          <a:xfrm>
            <a:off x="6593857" y="281446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14" name="Rectangle 13">
            <a:extLst>
              <a:ext uri="{FF2B5EF4-FFF2-40B4-BE49-F238E27FC236}">
                <a16:creationId xmlns:a16="http://schemas.microsoft.com/office/drawing/2014/main" id="{3735697C-0F4C-CA95-8C8D-84B3460DC6E4}"/>
              </a:ext>
            </a:extLst>
          </p:cNvPr>
          <p:cNvSpPr/>
          <p:nvPr/>
        </p:nvSpPr>
        <p:spPr>
          <a:xfrm>
            <a:off x="5138928" y="2817105"/>
            <a:ext cx="1427985"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Category Volume Share</a:t>
            </a: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 $</a:t>
            </a:r>
          </a:p>
        </p:txBody>
      </p:sp>
      <p:sp>
        <p:nvSpPr>
          <p:cNvPr id="15" name="Rectangle 14">
            <a:extLst>
              <a:ext uri="{FF2B5EF4-FFF2-40B4-BE49-F238E27FC236}">
                <a16:creationId xmlns:a16="http://schemas.microsoft.com/office/drawing/2014/main" id="{B0A104CD-B74E-4EF8-16D1-EE9F8336C89A}"/>
              </a:ext>
            </a:extLst>
          </p:cNvPr>
          <p:cNvSpPr/>
          <p:nvPr/>
        </p:nvSpPr>
        <p:spPr>
          <a:xfrm>
            <a:off x="7220424" y="2586392"/>
            <a:ext cx="299342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Total brand sale in volume </a:t>
            </a:r>
            <a:endPar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endParaRPr>
          </a:p>
        </p:txBody>
      </p:sp>
      <p:sp>
        <p:nvSpPr>
          <p:cNvPr id="17" name="Rectangle 16">
            <a:extLst>
              <a:ext uri="{FF2B5EF4-FFF2-40B4-BE49-F238E27FC236}">
                <a16:creationId xmlns:a16="http://schemas.microsoft.com/office/drawing/2014/main" id="{5C7496CE-DA35-FBBE-06F8-9C624186F5DD}"/>
              </a:ext>
            </a:extLst>
          </p:cNvPr>
          <p:cNvSpPr/>
          <p:nvPr/>
        </p:nvSpPr>
        <p:spPr>
          <a:xfrm>
            <a:off x="7220425" y="3069588"/>
            <a:ext cx="3000068"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Total category sale in volume </a:t>
            </a:r>
            <a:endPar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endParaRPr>
          </a:p>
        </p:txBody>
      </p:sp>
      <p:sp>
        <p:nvSpPr>
          <p:cNvPr id="19" name="Rectangle 18">
            <a:extLst>
              <a:ext uri="{FF2B5EF4-FFF2-40B4-BE49-F238E27FC236}">
                <a16:creationId xmlns:a16="http://schemas.microsoft.com/office/drawing/2014/main" id="{2329FCDB-DCFB-89E2-2C23-B116CB8F3726}"/>
              </a:ext>
            </a:extLst>
          </p:cNvPr>
          <p:cNvSpPr/>
          <p:nvPr/>
        </p:nvSpPr>
        <p:spPr>
          <a:xfrm>
            <a:off x="10258552" y="285751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x</a:t>
            </a:r>
          </a:p>
        </p:txBody>
      </p:sp>
      <p:sp>
        <p:nvSpPr>
          <p:cNvPr id="20" name="Rectangle 19">
            <a:extLst>
              <a:ext uri="{FF2B5EF4-FFF2-40B4-BE49-F238E27FC236}">
                <a16:creationId xmlns:a16="http://schemas.microsoft.com/office/drawing/2014/main" id="{8D91D47C-52AF-CCD6-068B-10C8FB841EC3}"/>
              </a:ext>
            </a:extLst>
          </p:cNvPr>
          <p:cNvSpPr/>
          <p:nvPr/>
        </p:nvSpPr>
        <p:spPr>
          <a:xfrm>
            <a:off x="10893165" y="2856369"/>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100</a:t>
            </a:r>
          </a:p>
        </p:txBody>
      </p:sp>
      <p:sp>
        <p:nvSpPr>
          <p:cNvPr id="21" name="Speech Bubble: Rectangle with Corners Rounded 20">
            <a:extLst>
              <a:ext uri="{FF2B5EF4-FFF2-40B4-BE49-F238E27FC236}">
                <a16:creationId xmlns:a16="http://schemas.microsoft.com/office/drawing/2014/main" id="{35078E12-1009-BA65-6F6C-C57B84B7B13C}"/>
              </a:ext>
            </a:extLst>
          </p:cNvPr>
          <p:cNvSpPr/>
          <p:nvPr/>
        </p:nvSpPr>
        <p:spPr>
          <a:xfrm>
            <a:off x="5157216" y="3895344"/>
            <a:ext cx="2889504" cy="2487168"/>
          </a:xfrm>
          <a:prstGeom prst="wedgeRoundRectCallout">
            <a:avLst>
              <a:gd name="adj1" fmla="val 32961"/>
              <a:gd name="adj2" fmla="val -65231"/>
              <a:gd name="adj3" fmla="val 16667"/>
            </a:avLst>
          </a:prstGeom>
          <a:solidFill>
            <a:srgbClr val="FFE5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Marketers use two forms of category share depending on the discussion and the analys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Value share establishes the share of sales in absolute terms versus total category size and $ sales this allows marketers to view 1 aspec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Volume share establishes the share of sales irrelevant of the package size this when viewed as a category does not reflect the right picture for it to be accurate you will need to view it in a similar sized sub catego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272727">
                    <a:lumMod val="90000"/>
                    <a:lumOff val="1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Therefore it's important to use both metrics carefully </a:t>
            </a:r>
          </a:p>
        </p:txBody>
      </p:sp>
      <p:pic>
        <p:nvPicPr>
          <p:cNvPr id="2050" name="Picture 2" descr="Diaper, Detergent, Softener household grocery categoy aisle at supermarket">
            <a:extLst>
              <a:ext uri="{FF2B5EF4-FFF2-40B4-BE49-F238E27FC236}">
                <a16:creationId xmlns:a16="http://schemas.microsoft.com/office/drawing/2014/main" id="{ED491299-8E2A-572B-2D1C-02227F2A0072}"/>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368284" y="3849624"/>
            <a:ext cx="3429000" cy="2286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5B80665F-9C9D-D158-01E8-72A619E30B6C}"/>
              </a:ext>
            </a:extLst>
          </p:cNvPr>
          <p:cNvSpPr txBox="1"/>
          <p:nvPr/>
        </p:nvSpPr>
        <p:spPr>
          <a:xfrm>
            <a:off x="421341" y="3602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pic>
        <p:nvPicPr>
          <p:cNvPr id="25" name="Picture 24" descr="Logo&#10;&#10;Description automatically generated">
            <a:extLst>
              <a:ext uri="{FF2B5EF4-FFF2-40B4-BE49-F238E27FC236}">
                <a16:creationId xmlns:a16="http://schemas.microsoft.com/office/drawing/2014/main" id="{94D76F8A-72E9-58CD-9E8A-6F09553A581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39357" y="367415"/>
            <a:ext cx="1570594" cy="365556"/>
          </a:xfrm>
          <a:prstGeom prst="rect">
            <a:avLst/>
          </a:prstGeom>
        </p:spPr>
      </p:pic>
      <p:sp>
        <p:nvSpPr>
          <p:cNvPr id="26" name="Footer Placeholder 3">
            <a:extLst>
              <a:ext uri="{FF2B5EF4-FFF2-40B4-BE49-F238E27FC236}">
                <a16:creationId xmlns:a16="http://schemas.microsoft.com/office/drawing/2014/main" id="{CB92B2C7-D63F-84C8-0B8C-BD029DA37E88}"/>
              </a:ext>
            </a:extLst>
          </p:cNvPr>
          <p:cNvSpPr txBox="1">
            <a:spLocks/>
          </p:cNvSpPr>
          <p:nvPr/>
        </p:nvSpPr>
        <p:spPr>
          <a:xfrm>
            <a:off x="3916680" y="6645910"/>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
        <p:nvSpPr>
          <p:cNvPr id="27" name="Rectangle 26">
            <a:extLst>
              <a:ext uri="{FF2B5EF4-FFF2-40B4-BE49-F238E27FC236}">
                <a16:creationId xmlns:a16="http://schemas.microsoft.com/office/drawing/2014/main" id="{5190456E-8E9D-C88B-C678-731D18429516}"/>
              </a:ext>
            </a:extLst>
          </p:cNvPr>
          <p:cNvSpPr/>
          <p:nvPr/>
        </p:nvSpPr>
        <p:spPr>
          <a:xfrm>
            <a:off x="9582912" y="4453128"/>
            <a:ext cx="1106424" cy="1682496"/>
          </a:xfrm>
          <a:prstGeom prst="rect">
            <a:avLst/>
          </a:prstGeom>
          <a:solidFill>
            <a:schemeClr val="accent1">
              <a:alpha val="2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8" name="Straight Arrow Connector 27">
            <a:extLst>
              <a:ext uri="{FF2B5EF4-FFF2-40B4-BE49-F238E27FC236}">
                <a16:creationId xmlns:a16="http://schemas.microsoft.com/office/drawing/2014/main" id="{90C310A2-63A3-804A-7AC5-7ED77F94243A}"/>
              </a:ext>
            </a:extLst>
          </p:cNvPr>
          <p:cNvCxnSpPr/>
          <p:nvPr/>
        </p:nvCxnSpPr>
        <p:spPr>
          <a:xfrm>
            <a:off x="8046720" y="4882896"/>
            <a:ext cx="1472184"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57470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56660" y="2081413"/>
            <a:ext cx="4697771" cy="1686616"/>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1"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57595D"/>
                </a:solidFill>
                <a:effectLst/>
                <a:uLnTx/>
                <a:uFillTx/>
                <a:latin typeface="Lato Light" panose="020F0502020204030203" pitchFamily="34" charset="0"/>
                <a:ea typeface="Lato Light" panose="020F0502020204030203" pitchFamily="34" charset="0"/>
                <a:cs typeface="Lato Light" panose="020F0502020204030203" pitchFamily="34" charset="0"/>
              </a:rPr>
              <a:t>Markup refers to the difference between the selling price of a good or service and its cost. It is expressed as a percentage above the cost. In other words, it is the premium over the </a:t>
            </a:r>
            <a:r>
              <a:rPr kumimoji="0" lang="en-GB" sz="1400" b="0" i="0" u="none" strike="noStrike" kern="1200" cap="none" spc="0" normalizeH="0" baseline="0" noProof="0" dirty="0">
                <a:ln>
                  <a:noFill/>
                </a:ln>
                <a:solidFill>
                  <a:srgbClr val="57595D"/>
                </a:solidFill>
                <a:effectLst/>
                <a:uLnTx/>
                <a:uFillTx/>
                <a:latin typeface="Lato Light" panose="020F0502020204030203" pitchFamily="34" charset="0"/>
                <a:ea typeface="Lato Light" panose="020F0502020204030203" pitchFamily="34" charset="0"/>
                <a:cs typeface="Lato Light" panose="020F0502020204030203" pitchFamily="34" charset="0"/>
                <a:hlinkClick r:id="rId3">
                  <a:extLst>
                    <a:ext uri="{A12FA001-AC4F-418D-AE19-62706E023703}">
                      <ahyp:hlinkClr xmlns:ahyp="http://schemas.microsoft.com/office/drawing/2018/hyperlinkcolor" val="tx"/>
                    </a:ext>
                  </a:extLst>
                </a:hlinkClick>
              </a:rPr>
              <a:t>total cost of the good</a:t>
            </a:r>
            <a:r>
              <a:rPr kumimoji="0" lang="en-GB" sz="1400" b="0" i="0" u="none" strike="noStrike" kern="1200" cap="none" spc="0" normalizeH="0" baseline="0" noProof="0" dirty="0">
                <a:ln>
                  <a:noFill/>
                </a:ln>
                <a:solidFill>
                  <a:srgbClr val="57595D"/>
                </a:solidFill>
                <a:effectLst/>
                <a:uLnTx/>
                <a:uFillTx/>
                <a:latin typeface="Lato Light" panose="020F0502020204030203" pitchFamily="34" charset="0"/>
                <a:ea typeface="Lato Light" panose="020F0502020204030203" pitchFamily="34" charset="0"/>
                <a:cs typeface="Lato Light" panose="020F0502020204030203" pitchFamily="34" charset="0"/>
              </a:rPr>
              <a:t> or service that provides the seller with a </a:t>
            </a:r>
            <a:r>
              <a:rPr kumimoji="0" lang="en-GB" sz="1400" b="0" i="0" u="none" strike="noStrike" kern="1200" cap="none" spc="0" normalizeH="0" baseline="0" noProof="0" dirty="0">
                <a:ln>
                  <a:noFill/>
                </a:ln>
                <a:solidFill>
                  <a:srgbClr val="57595D"/>
                </a:solidFill>
                <a:effectLst/>
                <a:uLnTx/>
                <a:uFillTx/>
                <a:latin typeface="Lato Light" panose="020F0502020204030203" pitchFamily="34" charset="0"/>
                <a:ea typeface="Lato Light" panose="020F0502020204030203" pitchFamily="34" charset="0"/>
                <a:cs typeface="Lato Light" panose="020F0502020204030203" pitchFamily="34" charset="0"/>
                <a:hlinkClick r:id="rId4">
                  <a:extLst>
                    <a:ext uri="{A12FA001-AC4F-418D-AE19-62706E023703}">
                      <ahyp:hlinkClr xmlns:ahyp="http://schemas.microsoft.com/office/drawing/2018/hyperlinkcolor" val="tx"/>
                    </a:ext>
                  </a:extLst>
                </a:hlinkClick>
              </a:rPr>
              <a:t>profit</a:t>
            </a:r>
            <a:r>
              <a:rPr kumimoji="0" lang="en-GB" sz="1400" b="0" i="0" u="none" strike="noStrike" kern="1200" cap="none" spc="0" normalizeH="0" baseline="0" noProof="0" dirty="0">
                <a:ln>
                  <a:noFill/>
                </a:ln>
                <a:solidFill>
                  <a:srgbClr val="57595D"/>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401110"/>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3" y="1148501"/>
              <a:ext cx="2981657" cy="338554"/>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Markup </a:t>
              </a:r>
            </a:p>
          </p:txBody>
        </p:sp>
      </p:grpSp>
      <p:sp>
        <p:nvSpPr>
          <p:cNvPr id="25" name="Rectangle 24">
            <a:extLst>
              <a:ext uri="{FF2B5EF4-FFF2-40B4-BE49-F238E27FC236}">
                <a16:creationId xmlns:a16="http://schemas.microsoft.com/office/drawing/2014/main" id="{3E90C702-2758-4AA6-AD1C-3EFF80B9FBA7}"/>
              </a:ext>
            </a:extLst>
          </p:cNvPr>
          <p:cNvSpPr/>
          <p:nvPr/>
        </p:nvSpPr>
        <p:spPr>
          <a:xfrm>
            <a:off x="6593857" y="281446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8" name="Rectangle 27">
            <a:extLst>
              <a:ext uri="{FF2B5EF4-FFF2-40B4-BE49-F238E27FC236}">
                <a16:creationId xmlns:a16="http://schemas.microsoft.com/office/drawing/2014/main" id="{8A851518-4E78-43D0-820D-188D4B317484}"/>
              </a:ext>
            </a:extLst>
          </p:cNvPr>
          <p:cNvSpPr/>
          <p:nvPr/>
        </p:nvSpPr>
        <p:spPr>
          <a:xfrm>
            <a:off x="5205670" y="2817105"/>
            <a:ext cx="136124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Markup %</a:t>
            </a:r>
          </a:p>
        </p:txBody>
      </p:sp>
      <p:sp>
        <p:nvSpPr>
          <p:cNvPr id="29" name="Rectangle 28">
            <a:extLst>
              <a:ext uri="{FF2B5EF4-FFF2-40B4-BE49-F238E27FC236}">
                <a16:creationId xmlns:a16="http://schemas.microsoft.com/office/drawing/2014/main" id="{A0C0B152-A8AC-456D-AA19-B451CB8BEA58}"/>
              </a:ext>
            </a:extLst>
          </p:cNvPr>
          <p:cNvSpPr/>
          <p:nvPr/>
        </p:nvSpPr>
        <p:spPr>
          <a:xfrm>
            <a:off x="7220425" y="2586392"/>
            <a:ext cx="1226670"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Selling Price </a:t>
            </a:r>
          </a:p>
        </p:txBody>
      </p:sp>
      <p:sp>
        <p:nvSpPr>
          <p:cNvPr id="30" name="Rectangle 29">
            <a:extLst>
              <a:ext uri="{FF2B5EF4-FFF2-40B4-BE49-F238E27FC236}">
                <a16:creationId xmlns:a16="http://schemas.microsoft.com/office/drawing/2014/main" id="{027D0824-E725-492F-AD2A-2B7B65C89CD9}"/>
              </a:ext>
            </a:extLst>
          </p:cNvPr>
          <p:cNvSpPr/>
          <p:nvPr/>
        </p:nvSpPr>
        <p:spPr>
          <a:xfrm>
            <a:off x="9119767" y="2573781"/>
            <a:ext cx="1100726"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Cost price </a:t>
            </a:r>
          </a:p>
        </p:txBody>
      </p:sp>
      <p:sp>
        <p:nvSpPr>
          <p:cNvPr id="31" name="Rectangle 30">
            <a:extLst>
              <a:ext uri="{FF2B5EF4-FFF2-40B4-BE49-F238E27FC236}">
                <a16:creationId xmlns:a16="http://schemas.microsoft.com/office/drawing/2014/main" id="{66434CA6-F4C2-423F-9230-074C5970610F}"/>
              </a:ext>
            </a:extLst>
          </p:cNvPr>
          <p:cNvSpPr/>
          <p:nvPr/>
        </p:nvSpPr>
        <p:spPr>
          <a:xfrm>
            <a:off x="7220425" y="3069588"/>
            <a:ext cx="3000068"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Cost Price </a:t>
            </a:r>
          </a:p>
        </p:txBody>
      </p:sp>
      <p:sp>
        <p:nvSpPr>
          <p:cNvPr id="32" name="Rectangle 31">
            <a:extLst>
              <a:ext uri="{FF2B5EF4-FFF2-40B4-BE49-F238E27FC236}">
                <a16:creationId xmlns:a16="http://schemas.microsoft.com/office/drawing/2014/main" id="{8E68D065-76E7-4FE3-B967-9B19FB03C3A5}"/>
              </a:ext>
            </a:extLst>
          </p:cNvPr>
          <p:cNvSpPr/>
          <p:nvPr/>
        </p:nvSpPr>
        <p:spPr>
          <a:xfrm>
            <a:off x="8480597" y="2582659"/>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33" name="Rectangle 32">
            <a:extLst>
              <a:ext uri="{FF2B5EF4-FFF2-40B4-BE49-F238E27FC236}">
                <a16:creationId xmlns:a16="http://schemas.microsoft.com/office/drawing/2014/main" id="{F345AE95-1CD0-4FF8-B2DC-E153CFA18D7F}"/>
              </a:ext>
            </a:extLst>
          </p:cNvPr>
          <p:cNvSpPr/>
          <p:nvPr/>
        </p:nvSpPr>
        <p:spPr>
          <a:xfrm>
            <a:off x="10258552" y="285751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x</a:t>
            </a:r>
          </a:p>
        </p:txBody>
      </p:sp>
      <p:sp>
        <p:nvSpPr>
          <p:cNvPr id="34" name="Rectangle 33">
            <a:extLst>
              <a:ext uri="{FF2B5EF4-FFF2-40B4-BE49-F238E27FC236}">
                <a16:creationId xmlns:a16="http://schemas.microsoft.com/office/drawing/2014/main" id="{C63099BE-FCBF-4A36-AE6C-BB764EFBE804}"/>
              </a:ext>
            </a:extLst>
          </p:cNvPr>
          <p:cNvSpPr/>
          <p:nvPr/>
        </p:nvSpPr>
        <p:spPr>
          <a:xfrm>
            <a:off x="10893165" y="2856369"/>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100</a:t>
            </a:r>
          </a:p>
        </p:txBody>
      </p:sp>
      <p:sp>
        <p:nvSpPr>
          <p:cNvPr id="27" name="TextBox 26">
            <a:extLst>
              <a:ext uri="{FF2B5EF4-FFF2-40B4-BE49-F238E27FC236}">
                <a16:creationId xmlns:a16="http://schemas.microsoft.com/office/drawing/2014/main" id="{E9E15EDF-D339-EA85-A7BE-887DA5392FB7}"/>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5" name="Footer Placeholder 3">
            <a:extLst>
              <a:ext uri="{FF2B5EF4-FFF2-40B4-BE49-F238E27FC236}">
                <a16:creationId xmlns:a16="http://schemas.microsoft.com/office/drawing/2014/main" id="{AAD40485-1A17-B178-2006-1C3CC37651A1}"/>
              </a:ext>
            </a:extLst>
          </p:cNvPr>
          <p:cNvSpPr txBox="1">
            <a:spLocks/>
          </p:cNvSpPr>
          <p:nvPr/>
        </p:nvSpPr>
        <p:spPr>
          <a:xfrm>
            <a:off x="3764280" y="6493510"/>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42318323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91816" y="2049010"/>
            <a:ext cx="4697771" cy="1686616"/>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1"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57595D"/>
                </a:solidFill>
                <a:effectLst/>
                <a:uLnTx/>
                <a:uFillTx/>
                <a:latin typeface="Lato Light" panose="020F0502020204030203" pitchFamily="34" charset="0"/>
                <a:ea typeface="Lato Light" panose="020F0502020204030203" pitchFamily="34" charset="0"/>
                <a:cs typeface="Lato Light" panose="020F0502020204030203" pitchFamily="34" charset="0"/>
              </a:rPr>
              <a:t>Margin refers to the difference between the selling price of a good or service and its cost. It is expressed as a percentage above the Sales price. In other words, it is the premium over the total cost of the good or service that provides the seller with a profit.</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401110"/>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3" y="1148501"/>
              <a:ext cx="2981657" cy="338554"/>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Margins </a:t>
              </a:r>
            </a:p>
          </p:txBody>
        </p:sp>
      </p:grpSp>
      <p:sp>
        <p:nvSpPr>
          <p:cNvPr id="36" name="TextBox 35">
            <a:extLst>
              <a:ext uri="{FF2B5EF4-FFF2-40B4-BE49-F238E27FC236}">
                <a16:creationId xmlns:a16="http://schemas.microsoft.com/office/drawing/2014/main" id="{078B5968-D118-45A6-895C-D9F1FEC7E23B}"/>
              </a:ext>
            </a:extLst>
          </p:cNvPr>
          <p:cNvSpPr txBox="1"/>
          <p:nvPr/>
        </p:nvSpPr>
        <p:spPr>
          <a:xfrm>
            <a:off x="1880052" y="5253712"/>
            <a:ext cx="444352" cy="707886"/>
          </a:xfrm>
          <a:prstGeom prst="rect">
            <a:avLst/>
          </a:prstGeom>
          <a:noFill/>
        </p:spPr>
        <p:txBody>
          <a:bodyPr wrap="none" rtlCol="0" anchor="ctr">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Poppins" pitchFamily="2" charset="77"/>
                <a:ea typeface="+mn-ea"/>
                <a:cs typeface="Poppins" pitchFamily="2" charset="77"/>
              </a:rPr>
              <a:t>3</a:t>
            </a:r>
          </a:p>
        </p:txBody>
      </p:sp>
      <p:cxnSp>
        <p:nvCxnSpPr>
          <p:cNvPr id="39" name="Straight Connector 38">
            <a:extLst>
              <a:ext uri="{FF2B5EF4-FFF2-40B4-BE49-F238E27FC236}">
                <a16:creationId xmlns:a16="http://schemas.microsoft.com/office/drawing/2014/main" id="{0D1E0B6E-580B-42EF-B9DB-83C9C65376D2}"/>
              </a:ext>
            </a:extLst>
          </p:cNvPr>
          <p:cNvCxnSpPr/>
          <p:nvPr/>
        </p:nvCxnSpPr>
        <p:spPr>
          <a:xfrm>
            <a:off x="6943918" y="5688365"/>
            <a:ext cx="193249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C9CA93C-0DF8-4EB0-9A45-08E37680F009}"/>
              </a:ext>
            </a:extLst>
          </p:cNvPr>
          <p:cNvSpPr/>
          <p:nvPr/>
        </p:nvSpPr>
        <p:spPr>
          <a:xfrm>
            <a:off x="6593857" y="281446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7" name="Rectangle 26">
            <a:extLst>
              <a:ext uri="{FF2B5EF4-FFF2-40B4-BE49-F238E27FC236}">
                <a16:creationId xmlns:a16="http://schemas.microsoft.com/office/drawing/2014/main" id="{3F8BC796-066D-46D8-B2FF-2366A393276F}"/>
              </a:ext>
            </a:extLst>
          </p:cNvPr>
          <p:cNvSpPr/>
          <p:nvPr/>
        </p:nvSpPr>
        <p:spPr>
          <a:xfrm>
            <a:off x="5205670" y="2817105"/>
            <a:ext cx="136124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Margin %</a:t>
            </a:r>
          </a:p>
        </p:txBody>
      </p:sp>
      <p:sp>
        <p:nvSpPr>
          <p:cNvPr id="30" name="Rectangle 29">
            <a:extLst>
              <a:ext uri="{FF2B5EF4-FFF2-40B4-BE49-F238E27FC236}">
                <a16:creationId xmlns:a16="http://schemas.microsoft.com/office/drawing/2014/main" id="{FA3B39AB-545A-48CD-BE5D-A6A08B142D52}"/>
              </a:ext>
            </a:extLst>
          </p:cNvPr>
          <p:cNvSpPr/>
          <p:nvPr/>
        </p:nvSpPr>
        <p:spPr>
          <a:xfrm>
            <a:off x="7220425" y="2586392"/>
            <a:ext cx="1226670"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Selling Price </a:t>
            </a:r>
          </a:p>
        </p:txBody>
      </p:sp>
      <p:sp>
        <p:nvSpPr>
          <p:cNvPr id="32" name="Rectangle 31">
            <a:extLst>
              <a:ext uri="{FF2B5EF4-FFF2-40B4-BE49-F238E27FC236}">
                <a16:creationId xmlns:a16="http://schemas.microsoft.com/office/drawing/2014/main" id="{8F1CBE19-79FE-4262-ADF4-CC87E0EA2210}"/>
              </a:ext>
            </a:extLst>
          </p:cNvPr>
          <p:cNvSpPr/>
          <p:nvPr/>
        </p:nvSpPr>
        <p:spPr>
          <a:xfrm>
            <a:off x="9119767" y="2573781"/>
            <a:ext cx="1100726"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Cost price </a:t>
            </a:r>
          </a:p>
        </p:txBody>
      </p:sp>
      <p:sp>
        <p:nvSpPr>
          <p:cNvPr id="33" name="Rectangle 32">
            <a:extLst>
              <a:ext uri="{FF2B5EF4-FFF2-40B4-BE49-F238E27FC236}">
                <a16:creationId xmlns:a16="http://schemas.microsoft.com/office/drawing/2014/main" id="{366A7C18-CACC-4DEE-AD59-0C0D0A2D7BC7}"/>
              </a:ext>
            </a:extLst>
          </p:cNvPr>
          <p:cNvSpPr/>
          <p:nvPr/>
        </p:nvSpPr>
        <p:spPr>
          <a:xfrm>
            <a:off x="7220425" y="3069588"/>
            <a:ext cx="3000068"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Selling Price </a:t>
            </a:r>
          </a:p>
        </p:txBody>
      </p:sp>
      <p:sp>
        <p:nvSpPr>
          <p:cNvPr id="34" name="Rectangle 33">
            <a:extLst>
              <a:ext uri="{FF2B5EF4-FFF2-40B4-BE49-F238E27FC236}">
                <a16:creationId xmlns:a16="http://schemas.microsoft.com/office/drawing/2014/main" id="{6D3A049E-AF7F-40B9-A9F0-31C05BA2DCFE}"/>
              </a:ext>
            </a:extLst>
          </p:cNvPr>
          <p:cNvSpPr/>
          <p:nvPr/>
        </p:nvSpPr>
        <p:spPr>
          <a:xfrm>
            <a:off x="8480597" y="2582659"/>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35" name="Rectangle 34">
            <a:extLst>
              <a:ext uri="{FF2B5EF4-FFF2-40B4-BE49-F238E27FC236}">
                <a16:creationId xmlns:a16="http://schemas.microsoft.com/office/drawing/2014/main" id="{C16538D6-053F-4478-A733-61D08BEDA1EC}"/>
              </a:ext>
            </a:extLst>
          </p:cNvPr>
          <p:cNvSpPr/>
          <p:nvPr/>
        </p:nvSpPr>
        <p:spPr>
          <a:xfrm>
            <a:off x="10258552" y="2857513"/>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x</a:t>
            </a:r>
          </a:p>
        </p:txBody>
      </p:sp>
      <p:sp>
        <p:nvSpPr>
          <p:cNvPr id="37" name="Rectangle 36">
            <a:extLst>
              <a:ext uri="{FF2B5EF4-FFF2-40B4-BE49-F238E27FC236}">
                <a16:creationId xmlns:a16="http://schemas.microsoft.com/office/drawing/2014/main" id="{5F4DEC29-BE10-468E-BA5B-E3CA1B2F0A69}"/>
              </a:ext>
            </a:extLst>
          </p:cNvPr>
          <p:cNvSpPr/>
          <p:nvPr/>
        </p:nvSpPr>
        <p:spPr>
          <a:xfrm>
            <a:off x="10893165" y="2856369"/>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100</a:t>
            </a:r>
          </a:p>
        </p:txBody>
      </p:sp>
      <p:sp>
        <p:nvSpPr>
          <p:cNvPr id="25" name="TextBox 24">
            <a:extLst>
              <a:ext uri="{FF2B5EF4-FFF2-40B4-BE49-F238E27FC236}">
                <a16:creationId xmlns:a16="http://schemas.microsoft.com/office/drawing/2014/main" id="{1E6574C9-D13A-25DB-F2A2-1311A8A15F9F}"/>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28" name="TextBox 27">
            <a:extLst>
              <a:ext uri="{FF2B5EF4-FFF2-40B4-BE49-F238E27FC236}">
                <a16:creationId xmlns:a16="http://schemas.microsoft.com/office/drawing/2014/main" id="{C187CF78-FE3F-E504-57B4-5ADC5362C11A}"/>
              </a:ext>
            </a:extLst>
          </p:cNvPr>
          <p:cNvSpPr txBox="1"/>
          <p:nvPr/>
        </p:nvSpPr>
        <p:spPr>
          <a:xfrm>
            <a:off x="4544568"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2953145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Box 103">
            <a:extLst>
              <a:ext uri="{FF2B5EF4-FFF2-40B4-BE49-F238E27FC236}">
                <a16:creationId xmlns:a16="http://schemas.microsoft.com/office/drawing/2014/main" id="{31E1A1A4-84C1-A0B6-F684-4C7EFDC53DB3}"/>
              </a:ext>
            </a:extLst>
          </p:cNvPr>
          <p:cNvSpPr txBox="1"/>
          <p:nvPr/>
        </p:nvSpPr>
        <p:spPr>
          <a:xfrm>
            <a:off x="8077842" y="2991069"/>
            <a:ext cx="4114158" cy="1692771"/>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Inter"/>
                <a:ea typeface="+mn-ea"/>
                <a:cs typeface="+mn-cs"/>
              </a:rPr>
              <a:t>We Created UpskilPRO for th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Sales Professional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Trade Marketer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Marketing Executiv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Operations Manager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VP/Director/Manager  </a:t>
            </a:r>
          </a:p>
        </p:txBody>
      </p:sp>
      <p:sp>
        <p:nvSpPr>
          <p:cNvPr id="78" name="Rectangle 77">
            <a:extLst>
              <a:ext uri="{FF2B5EF4-FFF2-40B4-BE49-F238E27FC236}">
                <a16:creationId xmlns:a16="http://schemas.microsoft.com/office/drawing/2014/main" id="{CD65FBC2-87F4-C9D1-D315-DE19EC3C9736}"/>
              </a:ext>
            </a:extLst>
          </p:cNvPr>
          <p:cNvSpPr/>
          <p:nvPr/>
        </p:nvSpPr>
        <p:spPr>
          <a:xfrm>
            <a:off x="6496980" y="5376705"/>
            <a:ext cx="3263470"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all" spc="0" normalizeH="0" baseline="0" noProof="0" dirty="0">
              <a:ln>
                <a:noFill/>
              </a:ln>
              <a:solidFill>
                <a:srgbClr val="002060"/>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SAVE THOUSANDS OF DOLL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The  average company will save 1000’s of $ per employee in time &amp; effort using our ready tool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002060"/>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7" name="Rectangle 86">
            <a:extLst>
              <a:ext uri="{FF2B5EF4-FFF2-40B4-BE49-F238E27FC236}">
                <a16:creationId xmlns:a16="http://schemas.microsoft.com/office/drawing/2014/main" id="{2D3E5D50-6A58-1AC9-0C09-D3F625B87940}"/>
              </a:ext>
            </a:extLst>
          </p:cNvPr>
          <p:cNvSpPr/>
          <p:nvPr/>
        </p:nvSpPr>
        <p:spPr>
          <a:xfrm>
            <a:off x="3357665" y="5393261"/>
            <a:ext cx="2505456"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	All tool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6B7280"/>
                </a:solidFill>
                <a:effectLst/>
                <a:uLnTx/>
                <a:uFillTx/>
                <a:latin typeface="Inter"/>
                <a:ea typeface="+mn-ea"/>
                <a:cs typeface="+mn-cs"/>
              </a:rPr>
              <a:t>are based on topics and subject based situations  and are simple and easy to use .</a:t>
            </a:r>
            <a:endParaRPr kumimoji="0" lang="en-US" sz="1100" b="0" i="0" u="none" strike="noStrike" kern="1200" cap="none" spc="0" normalizeH="0" baseline="0" noProof="0" dirty="0">
              <a:ln>
                <a:noFill/>
              </a:ln>
              <a:solidFill>
                <a:srgbClr val="053881"/>
              </a:solidFill>
              <a:effectLst/>
              <a:uLnTx/>
              <a:uFillTx/>
              <a:latin typeface="Calibri Light" panose="020F0302020204030204"/>
              <a:ea typeface="+mn-ea"/>
              <a:cs typeface="+mn-cs"/>
            </a:endParaRPr>
          </a:p>
        </p:txBody>
      </p:sp>
      <p:sp>
        <p:nvSpPr>
          <p:cNvPr id="96" name="Rectangle 95">
            <a:extLst>
              <a:ext uri="{FF2B5EF4-FFF2-40B4-BE49-F238E27FC236}">
                <a16:creationId xmlns:a16="http://schemas.microsoft.com/office/drawing/2014/main" id="{2B4DAE25-6C5F-3494-F64C-741ABE1C03FF}"/>
              </a:ext>
            </a:extLst>
          </p:cNvPr>
          <p:cNvSpPr/>
          <p:nvPr/>
        </p:nvSpPr>
        <p:spPr>
          <a:xfrm>
            <a:off x="7830607" y="1956265"/>
            <a:ext cx="3337401"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Develop YOUR BUS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53881"/>
                </a:solidFill>
                <a:effectLst/>
                <a:uLnTx/>
                <a:uFillTx/>
                <a:latin typeface="Calibri Light" panose="020F0302020204030204"/>
                <a:ea typeface="+mn-ea"/>
                <a:cs typeface="+mn-cs"/>
              </a:rPr>
              <a:t>Learn , &amp; utilize the knowledge and  processes and enhance your capabilities  as the other companies have</a:t>
            </a:r>
          </a:p>
        </p:txBody>
      </p:sp>
      <p:pic>
        <p:nvPicPr>
          <p:cNvPr id="103" name="Picture 12" descr="Best Practice Icon Stock Illustrations – 614 Best Practice Icon Stock  Illustrations, Vectors &amp; Clipart - Dreamstime">
            <a:extLst>
              <a:ext uri="{FF2B5EF4-FFF2-40B4-BE49-F238E27FC236}">
                <a16:creationId xmlns:a16="http://schemas.microsoft.com/office/drawing/2014/main" id="{F37EE7CD-C229-CDF2-39F2-6C252DB3ECD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605594" y="1897420"/>
            <a:ext cx="590319" cy="590319"/>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a:extLst>
              <a:ext uri="{FF2B5EF4-FFF2-40B4-BE49-F238E27FC236}">
                <a16:creationId xmlns:a16="http://schemas.microsoft.com/office/drawing/2014/main" id="{78E332B7-B7E1-B248-F475-7B8D5F897C26}"/>
              </a:ext>
            </a:extLst>
          </p:cNvPr>
          <p:cNvSpPr/>
          <p:nvPr/>
        </p:nvSpPr>
        <p:spPr>
          <a:xfrm>
            <a:off x="6277006" y="886897"/>
            <a:ext cx="3144395"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Improve your knowled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with professional Strategic Tools , Templates and planning documents for any business situation</a:t>
            </a:r>
            <a:r>
              <a:rPr kumimoji="0" lang="en-GB" sz="1100" b="0" i="0" u="none" strike="noStrike" kern="1200" cap="none" spc="0" normalizeH="0" baseline="0" noProof="0" dirty="0">
                <a:ln>
                  <a:noFill/>
                </a:ln>
                <a:solidFill>
                  <a:srgbClr val="6B7280"/>
                </a:solidFill>
                <a:effectLst/>
                <a:uLnTx/>
                <a:uFillTx/>
                <a:latin typeface="Inter"/>
                <a:ea typeface="+mn-ea"/>
                <a:cs typeface="+mn-cs"/>
              </a:rPr>
              <a:t>!</a:t>
            </a:r>
            <a:endParaRPr kumimoji="0" lang="en-GB" sz="1100" b="0" i="0" u="none" strike="noStrike" kern="1200" cap="none" spc="0" normalizeH="0" baseline="0" noProof="0" dirty="0">
              <a:ln>
                <a:noFill/>
              </a:ln>
              <a:solidFill>
                <a:srgbClr val="002060"/>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100" name="Picture 4" descr="Learn icon Icons PNG - Free PNG and Icons Downloads">
            <a:extLst>
              <a:ext uri="{FF2B5EF4-FFF2-40B4-BE49-F238E27FC236}">
                <a16:creationId xmlns:a16="http://schemas.microsoft.com/office/drawing/2014/main" id="{17E3F676-CEEC-B059-1406-339AEFF300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3886" y="1012242"/>
            <a:ext cx="610069" cy="565558"/>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5" descr="Product Development vector icon symbol. Creative sign from seo and  development i , #Affiliate, #vector, #icon… | Vector icons symbols, Icon  collection, Vector icons">
            <a:extLst>
              <a:ext uri="{FF2B5EF4-FFF2-40B4-BE49-F238E27FC236}">
                <a16:creationId xmlns:a16="http://schemas.microsoft.com/office/drawing/2014/main" id="{B7572A61-3D16-2FF2-7007-2C558051484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4036875" y="1969502"/>
            <a:ext cx="662581" cy="67274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8" name="Picture 17" descr="Icon Of Finger Clicking On The Inscription Benefits. Vector Illustration  Eps 10 Stock Vector - Illustration of earn, graphic: 174957695">
            <a:extLst>
              <a:ext uri="{FF2B5EF4-FFF2-40B4-BE49-F238E27FC236}">
                <a16:creationId xmlns:a16="http://schemas.microsoft.com/office/drawing/2014/main" id="{9D4F0335-D83F-9DE6-A01B-0DE8E2C0183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2989" t="13756" r="5979" b="14374"/>
          <a:stretch/>
        </p:blipFill>
        <p:spPr bwMode="auto">
          <a:xfrm>
            <a:off x="5811332" y="5387897"/>
            <a:ext cx="709472" cy="71784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739CC267-64BE-B908-C1DB-27BE7B6B9F54}"/>
              </a:ext>
            </a:extLst>
          </p:cNvPr>
          <p:cNvSpPr/>
          <p:nvPr/>
        </p:nvSpPr>
        <p:spPr>
          <a:xfrm>
            <a:off x="1749884" y="4778621"/>
            <a:ext cx="2505456"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all" spc="0" normalizeH="0" baseline="0" noProof="0" dirty="0">
              <a:ln>
                <a:noFill/>
              </a:ln>
              <a:solidFill>
                <a:srgbClr val="6B7280"/>
              </a:solidFill>
              <a:effectLst/>
              <a:uLnTx/>
              <a:uFillTx/>
              <a:latin typeface="Inter"/>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CREATED B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world class sales and marke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 business professionals. </a:t>
            </a:r>
          </a:p>
        </p:txBody>
      </p:sp>
      <p:pic>
        <p:nvPicPr>
          <p:cNvPr id="85" name="Picture 10" descr="Consultation Icon">
            <a:extLst>
              <a:ext uri="{FF2B5EF4-FFF2-40B4-BE49-F238E27FC236}">
                <a16:creationId xmlns:a16="http://schemas.microsoft.com/office/drawing/2014/main" id="{6645D959-C975-81C9-81C2-B5A09A38AB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93982" y="4954325"/>
            <a:ext cx="639512" cy="63951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9" name="Picture 78" descr="Icon&#10;&#10;Description automatically generated">
            <a:extLst>
              <a:ext uri="{FF2B5EF4-FFF2-40B4-BE49-F238E27FC236}">
                <a16:creationId xmlns:a16="http://schemas.microsoft.com/office/drawing/2014/main" id="{9451BE40-AB2E-11A1-B0D1-AA49BF12AE91}"/>
              </a:ext>
            </a:extLst>
          </p:cNvPr>
          <p:cNvPicPr>
            <a:picLocks noChangeAspect="1"/>
          </p:cNvPicPr>
          <p:nvPr/>
        </p:nvPicPr>
        <p:blipFill rotWithShape="1">
          <a:blip r:embed="rId8">
            <a:extLst>
              <a:ext uri="{28A0092B-C50C-407E-A947-70E740481C1C}">
                <a14:useLocalDpi xmlns:a14="http://schemas.microsoft.com/office/drawing/2010/main" val="0"/>
              </a:ext>
            </a:extLst>
          </a:blip>
          <a:srcRect l="23957" t="19328" r="21644" b="22223"/>
          <a:stretch/>
        </p:blipFill>
        <p:spPr>
          <a:xfrm>
            <a:off x="7646466" y="4922416"/>
            <a:ext cx="642211" cy="690035"/>
          </a:xfrm>
          <a:prstGeom prst="rect">
            <a:avLst/>
          </a:prstGeom>
          <a:ln>
            <a:noFill/>
          </a:ln>
        </p:spPr>
      </p:pic>
      <p:sp>
        <p:nvSpPr>
          <p:cNvPr id="39" name="Freeform: Shape 38">
            <a:extLst>
              <a:ext uri="{FF2B5EF4-FFF2-40B4-BE49-F238E27FC236}">
                <a16:creationId xmlns:a16="http://schemas.microsoft.com/office/drawing/2014/main" id="{83864CF7-24A3-3B94-B422-2AD66106B8EE}"/>
              </a:ext>
            </a:extLst>
          </p:cNvPr>
          <p:cNvSpPr/>
          <p:nvPr/>
        </p:nvSpPr>
        <p:spPr>
          <a:xfrm>
            <a:off x="5432777" y="1600530"/>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B0C4C54A-73DF-E83B-986F-C836D627D18C}"/>
              </a:ext>
            </a:extLst>
          </p:cNvPr>
          <p:cNvSpPr/>
          <p:nvPr/>
        </p:nvSpPr>
        <p:spPr>
          <a:xfrm rot="2700000">
            <a:off x="5428994" y="1598964"/>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 name="Freeform: Shape 44">
            <a:extLst>
              <a:ext uri="{FF2B5EF4-FFF2-40B4-BE49-F238E27FC236}">
                <a16:creationId xmlns:a16="http://schemas.microsoft.com/office/drawing/2014/main" id="{F897F91A-5C53-A643-243D-EEC550C799E9}"/>
              </a:ext>
            </a:extLst>
          </p:cNvPr>
          <p:cNvSpPr/>
          <p:nvPr/>
        </p:nvSpPr>
        <p:spPr>
          <a:xfrm rot="18900000">
            <a:off x="5445056" y="1598963"/>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Freeform: Shape 47">
            <a:extLst>
              <a:ext uri="{FF2B5EF4-FFF2-40B4-BE49-F238E27FC236}">
                <a16:creationId xmlns:a16="http://schemas.microsoft.com/office/drawing/2014/main" id="{A89C2471-DBEC-8886-99F4-D0B564E3A51A}"/>
              </a:ext>
            </a:extLst>
          </p:cNvPr>
          <p:cNvSpPr/>
          <p:nvPr/>
        </p:nvSpPr>
        <p:spPr>
          <a:xfrm rot="16200000">
            <a:off x="5438127" y="1595180"/>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10A69157-44DF-88CE-64A8-F88C4190F02C}"/>
              </a:ext>
            </a:extLst>
          </p:cNvPr>
          <p:cNvSpPr/>
          <p:nvPr/>
        </p:nvSpPr>
        <p:spPr>
          <a:xfrm>
            <a:off x="863029" y="1587399"/>
            <a:ext cx="3262843"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Use ready made too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6B7280"/>
                </a:solidFill>
                <a:effectLst/>
                <a:uLnTx/>
                <a:uFillTx/>
                <a:latin typeface="Inter"/>
                <a:ea typeface="+mn-ea"/>
                <a:cs typeface="+mn-cs"/>
              </a:rPr>
              <a:t>with filled in examples and ready to print &amp; edit at your convenience . Just edit and fill-in the blanks !</a:t>
            </a:r>
          </a:p>
        </p:txBody>
      </p:sp>
      <p:sp>
        <p:nvSpPr>
          <p:cNvPr id="90" name="Rectangle 89">
            <a:extLst>
              <a:ext uri="{FF2B5EF4-FFF2-40B4-BE49-F238E27FC236}">
                <a16:creationId xmlns:a16="http://schemas.microsoft.com/office/drawing/2014/main" id="{A36D8FB7-D191-5C19-D54D-737D65DC34A1}"/>
              </a:ext>
            </a:extLst>
          </p:cNvPr>
          <p:cNvSpPr/>
          <p:nvPr/>
        </p:nvSpPr>
        <p:spPr>
          <a:xfrm>
            <a:off x="981598" y="3289253"/>
            <a:ext cx="2505456"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53881"/>
                </a:solidFill>
                <a:effectLst/>
                <a:uLnTx/>
                <a:uFillTx/>
                <a:latin typeface="Calibri Light" panose="020F0302020204030204"/>
                <a:ea typeface="+mn-ea"/>
                <a:cs typeface="+mn-cs"/>
              </a:rPr>
              <a:t>	</a:t>
            </a: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100’s of tools , </a:t>
            </a:r>
            <a:r>
              <a:rPr kumimoji="0" lang="en-GB" sz="1100" b="0" i="0" u="none" strike="noStrike" kern="1200" cap="none" spc="0" normalizeH="0" baseline="0" noProof="0" dirty="0">
                <a:ln>
                  <a:noFill/>
                </a:ln>
                <a:solidFill>
                  <a:srgbClr val="053881"/>
                </a:solidFill>
                <a:effectLst/>
                <a:uLnTx/>
                <a:uFillTx/>
                <a:latin typeface="Calibri Light" panose="020F0302020204030204"/>
                <a:ea typeface="+mn-ea"/>
                <a:cs typeface="+mn-cs"/>
              </a:rPr>
              <a:t>	TEMPLATES &amp; 	documents</a:t>
            </a:r>
          </a:p>
        </p:txBody>
      </p:sp>
      <p:pic>
        <p:nvPicPr>
          <p:cNvPr id="91" name="Picture 8" descr="Green and white flow chart illustration, Project management Computer Icons  Project plan, Project Management Icon free png | PNGFuel">
            <a:extLst>
              <a:ext uri="{FF2B5EF4-FFF2-40B4-BE49-F238E27FC236}">
                <a16:creationId xmlns:a16="http://schemas.microsoft.com/office/drawing/2014/main" id="{6D019537-5315-7A0C-25E1-AB43D3155ECB}"/>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418204" y="3565135"/>
            <a:ext cx="461016" cy="389218"/>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05" name="Group 104">
            <a:extLst>
              <a:ext uri="{FF2B5EF4-FFF2-40B4-BE49-F238E27FC236}">
                <a16:creationId xmlns:a16="http://schemas.microsoft.com/office/drawing/2014/main" id="{6A778BE2-FE51-772A-3E0C-9B72E460DB91}"/>
              </a:ext>
            </a:extLst>
          </p:cNvPr>
          <p:cNvGrpSpPr/>
          <p:nvPr/>
        </p:nvGrpSpPr>
        <p:grpSpPr>
          <a:xfrm>
            <a:off x="2346067" y="6098477"/>
            <a:ext cx="8219335" cy="663120"/>
            <a:chOff x="1750166" y="5512849"/>
            <a:chExt cx="8219335" cy="663120"/>
          </a:xfrm>
        </p:grpSpPr>
        <p:sp>
          <p:nvSpPr>
            <p:cNvPr id="106" name="TextBox 105">
              <a:extLst>
                <a:ext uri="{FF2B5EF4-FFF2-40B4-BE49-F238E27FC236}">
                  <a16:creationId xmlns:a16="http://schemas.microsoft.com/office/drawing/2014/main" id="{99FAA1BF-3660-16D9-751A-5D38FF0E5289}"/>
                </a:ext>
              </a:extLst>
            </p:cNvPr>
            <p:cNvSpPr txBox="1"/>
            <p:nvPr/>
          </p:nvSpPr>
          <p:spPr>
            <a:xfrm>
              <a:off x="1811867" y="5557981"/>
              <a:ext cx="815763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Inter"/>
                  <a:ea typeface="+mn-ea"/>
                  <a:cs typeface="+mn-cs"/>
                </a:rPr>
                <a:t>Top Quality Tools &amp; Templates for developing both you and your business.</a:t>
              </a:r>
            </a:p>
          </p:txBody>
        </p:sp>
        <p:pic>
          <p:nvPicPr>
            <p:cNvPr id="107" name="Picture 6" descr="Productivity Icons - Download Free Vector Icons | Noun Project">
              <a:extLst>
                <a:ext uri="{FF2B5EF4-FFF2-40B4-BE49-F238E27FC236}">
                  <a16:creationId xmlns:a16="http://schemas.microsoft.com/office/drawing/2014/main" id="{580A944C-DCAF-86DC-B58C-6478FD3AB2C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50166" y="5512849"/>
              <a:ext cx="663120" cy="663120"/>
            </a:xfrm>
            <a:prstGeom prst="rect">
              <a:avLst/>
            </a:prstGeom>
            <a:noFill/>
            <a:extLst>
              <a:ext uri="{909E8E84-426E-40DD-AFC4-6F175D3DCCD1}">
                <a14:hiddenFill xmlns:a14="http://schemas.microsoft.com/office/drawing/2010/main">
                  <a:solidFill>
                    <a:srgbClr val="FFFFFF"/>
                  </a:solidFill>
                </a14:hiddenFill>
              </a:ext>
            </a:extLst>
          </p:spPr>
        </p:pic>
      </p:grpSp>
      <p:sp>
        <p:nvSpPr>
          <p:cNvPr id="108" name="TextBox 107">
            <a:extLst>
              <a:ext uri="{FF2B5EF4-FFF2-40B4-BE49-F238E27FC236}">
                <a16:creationId xmlns:a16="http://schemas.microsoft.com/office/drawing/2014/main" id="{9AA3F540-B22F-A9E9-CBE6-3EF3719E654E}"/>
              </a:ext>
            </a:extLst>
          </p:cNvPr>
          <p:cNvSpPr txBox="1"/>
          <p:nvPr/>
        </p:nvSpPr>
        <p:spPr>
          <a:xfrm>
            <a:off x="2793364" y="294829"/>
            <a:ext cx="6094476"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000" b="1" i="0" u="none" strike="noStrike" kern="1200" cap="none" spc="0" normalizeH="0" baseline="0" noProof="0" dirty="0">
                <a:ln>
                  <a:noFill/>
                </a:ln>
                <a:solidFill>
                  <a:srgbClr val="44546A"/>
                </a:solidFill>
                <a:effectLst/>
                <a:uLnTx/>
                <a:uFillTx/>
                <a:latin typeface="Plato"/>
                <a:ea typeface="+mn-ea"/>
                <a:cs typeface="Poppins" pitchFamily="2" charset="77"/>
              </a:rPr>
              <a:t>7 Benefits of using UpskilPRO :</a:t>
            </a:r>
          </a:p>
        </p:txBody>
      </p:sp>
      <p:sp>
        <p:nvSpPr>
          <p:cNvPr id="110" name="Arrow: Right 109">
            <a:extLst>
              <a:ext uri="{FF2B5EF4-FFF2-40B4-BE49-F238E27FC236}">
                <a16:creationId xmlns:a16="http://schemas.microsoft.com/office/drawing/2014/main" id="{2CC18E73-53FD-68F6-E45E-1B5B6BFDF921}"/>
              </a:ext>
            </a:extLst>
          </p:cNvPr>
          <p:cNvSpPr/>
          <p:nvPr/>
        </p:nvSpPr>
        <p:spPr>
          <a:xfrm>
            <a:off x="8198778" y="3472665"/>
            <a:ext cx="359595" cy="482885"/>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pic>
        <p:nvPicPr>
          <p:cNvPr id="2" name="Picture 1" descr="Logo&#10;&#10;Description automatically generated">
            <a:extLst>
              <a:ext uri="{FF2B5EF4-FFF2-40B4-BE49-F238E27FC236}">
                <a16:creationId xmlns:a16="http://schemas.microsoft.com/office/drawing/2014/main" id="{F14084C4-B220-6BFE-77C2-3C960BFCDF3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3" name="Footer Placeholder 3">
            <a:extLst>
              <a:ext uri="{FF2B5EF4-FFF2-40B4-BE49-F238E27FC236}">
                <a16:creationId xmlns:a16="http://schemas.microsoft.com/office/drawing/2014/main" id="{25001FF7-069F-DCA4-8097-811B3C9C50D6}"/>
              </a:ext>
            </a:extLst>
          </p:cNvPr>
          <p:cNvSpPr txBox="1">
            <a:spLocks/>
          </p:cNvSpPr>
          <p:nvPr/>
        </p:nvSpPr>
        <p:spPr>
          <a:xfrm>
            <a:off x="3764280" y="6493510"/>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41492010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91816" y="2049010"/>
            <a:ext cx="4697771" cy="2548390"/>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1"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Lato Light" panose="020F0502020204030203" pitchFamily="34" charset="0"/>
                <a:ea typeface="Lato Light" panose="020F0502020204030203" pitchFamily="34" charset="0"/>
                <a:cs typeface="Lato Light" panose="020F0502020204030203" pitchFamily="34" charset="0"/>
              </a:rPr>
              <a:t>The break-even level represents the sales amount—in either unit or revenue terms that is required to cover total costs (both fixed and variable). Profit at break-even is zero. Break-even is only possible if a firm’s prices are higher than its variable costs per unit. If so, then each unit of product sold will generate some “contribution” toward covering fixed costs. The difference between price per unit and variable cost per unit is defined as Contribution per Unit.</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401110"/>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3" y="1148501"/>
              <a:ext cx="2981657" cy="338554"/>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Break even volume </a:t>
              </a:r>
            </a:p>
          </p:txBody>
        </p:sp>
      </p:grpSp>
      <p:sp>
        <p:nvSpPr>
          <p:cNvPr id="36" name="TextBox 35">
            <a:extLst>
              <a:ext uri="{FF2B5EF4-FFF2-40B4-BE49-F238E27FC236}">
                <a16:creationId xmlns:a16="http://schemas.microsoft.com/office/drawing/2014/main" id="{078B5968-D118-45A6-895C-D9F1FEC7E23B}"/>
              </a:ext>
            </a:extLst>
          </p:cNvPr>
          <p:cNvSpPr txBox="1"/>
          <p:nvPr/>
        </p:nvSpPr>
        <p:spPr>
          <a:xfrm>
            <a:off x="1880052" y="5253712"/>
            <a:ext cx="444352" cy="707886"/>
          </a:xfrm>
          <a:prstGeom prst="rect">
            <a:avLst/>
          </a:prstGeom>
          <a:noFill/>
        </p:spPr>
        <p:txBody>
          <a:bodyPr wrap="none" rtlCol="0" anchor="ctr">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Poppins" pitchFamily="2" charset="77"/>
                <a:ea typeface="+mn-ea"/>
                <a:cs typeface="Poppins" pitchFamily="2" charset="77"/>
              </a:rPr>
              <a:t>3</a:t>
            </a:r>
          </a:p>
        </p:txBody>
      </p:sp>
      <p:cxnSp>
        <p:nvCxnSpPr>
          <p:cNvPr id="39" name="Straight Connector 38">
            <a:extLst>
              <a:ext uri="{FF2B5EF4-FFF2-40B4-BE49-F238E27FC236}">
                <a16:creationId xmlns:a16="http://schemas.microsoft.com/office/drawing/2014/main" id="{0D1E0B6E-580B-42EF-B9DB-83C9C65376D2}"/>
              </a:ext>
            </a:extLst>
          </p:cNvPr>
          <p:cNvCxnSpPr/>
          <p:nvPr/>
        </p:nvCxnSpPr>
        <p:spPr>
          <a:xfrm>
            <a:off x="6943918" y="5688365"/>
            <a:ext cx="193249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C9CA93C-0DF8-4EB0-9A45-08E37680F009}"/>
              </a:ext>
            </a:extLst>
          </p:cNvPr>
          <p:cNvSpPr/>
          <p:nvPr/>
        </p:nvSpPr>
        <p:spPr>
          <a:xfrm>
            <a:off x="7224172" y="2915315"/>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7" name="Rectangle 26">
            <a:extLst>
              <a:ext uri="{FF2B5EF4-FFF2-40B4-BE49-F238E27FC236}">
                <a16:creationId xmlns:a16="http://schemas.microsoft.com/office/drawing/2014/main" id="{3F8BC796-066D-46D8-B2FF-2366A393276F}"/>
              </a:ext>
            </a:extLst>
          </p:cNvPr>
          <p:cNvSpPr/>
          <p:nvPr/>
        </p:nvSpPr>
        <p:spPr>
          <a:xfrm>
            <a:off x="5653889" y="2917957"/>
            <a:ext cx="1534461"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Breakeven Volume %</a:t>
            </a:r>
          </a:p>
        </p:txBody>
      </p:sp>
      <p:sp>
        <p:nvSpPr>
          <p:cNvPr id="30" name="Rectangle 29">
            <a:extLst>
              <a:ext uri="{FF2B5EF4-FFF2-40B4-BE49-F238E27FC236}">
                <a16:creationId xmlns:a16="http://schemas.microsoft.com/office/drawing/2014/main" id="{FA3B39AB-545A-48CD-BE5D-A6A08B142D52}"/>
              </a:ext>
            </a:extLst>
          </p:cNvPr>
          <p:cNvSpPr/>
          <p:nvPr/>
        </p:nvSpPr>
        <p:spPr>
          <a:xfrm>
            <a:off x="7850739" y="2687244"/>
            <a:ext cx="3000067"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Fixed Costs $</a:t>
            </a:r>
          </a:p>
        </p:txBody>
      </p:sp>
      <p:sp>
        <p:nvSpPr>
          <p:cNvPr id="33" name="Rectangle 32">
            <a:extLst>
              <a:ext uri="{FF2B5EF4-FFF2-40B4-BE49-F238E27FC236}">
                <a16:creationId xmlns:a16="http://schemas.microsoft.com/office/drawing/2014/main" id="{366A7C18-CACC-4DEE-AD59-0C0D0A2D7BC7}"/>
              </a:ext>
            </a:extLst>
          </p:cNvPr>
          <p:cNvSpPr/>
          <p:nvPr/>
        </p:nvSpPr>
        <p:spPr>
          <a:xfrm>
            <a:off x="7850740" y="3170440"/>
            <a:ext cx="3000068"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72727">
                    <a:lumMod val="95000"/>
                    <a:lumOff val="5000"/>
                  </a:srgbClr>
                </a:solidFill>
                <a:effectLst/>
                <a:uLnTx/>
                <a:uFillTx/>
                <a:latin typeface="Lato Light" panose="020F0502020204030203" pitchFamily="34" charset="0"/>
                <a:ea typeface="+mn-ea"/>
                <a:cs typeface="+mn-cs"/>
              </a:rPr>
              <a:t>Contribution per unit $ </a:t>
            </a:r>
          </a:p>
        </p:txBody>
      </p:sp>
      <p:sp>
        <p:nvSpPr>
          <p:cNvPr id="25" name="TextBox 24">
            <a:extLst>
              <a:ext uri="{FF2B5EF4-FFF2-40B4-BE49-F238E27FC236}">
                <a16:creationId xmlns:a16="http://schemas.microsoft.com/office/drawing/2014/main" id="{B1CDD996-FB10-817A-C305-8CFA77AB5C8C}"/>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28" name="TextBox 27">
            <a:extLst>
              <a:ext uri="{FF2B5EF4-FFF2-40B4-BE49-F238E27FC236}">
                <a16:creationId xmlns:a16="http://schemas.microsoft.com/office/drawing/2014/main" id="{76E8C093-EB03-4924-16C9-DF8E4B25E06F}"/>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28222053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91816" y="2049010"/>
            <a:ext cx="4697771" cy="1902059"/>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202124"/>
                </a:solidFill>
                <a:effectLst/>
                <a:uLnTx/>
                <a:uFillTx/>
                <a:latin typeface="Lato Light" panose="020F0502020204030203" pitchFamily="34" charset="0"/>
                <a:ea typeface="Lato Light" panose="020F0502020204030203" pitchFamily="34" charset="0"/>
                <a:cs typeface="Lato Light" panose="020F0502020204030203" pitchFamily="34" charset="0"/>
              </a:rPr>
              <a:t>Break-even revenue is the amount of money the business generates from the sale of the break-even quantity. Therefore, the calculation of annual break-even units and revenue is used to determine the volumes of production and sales that must be realized to achieve the profit targets for the year.</a:t>
            </a:r>
            <a:endParaRPr kumimoji="0" lang="en-GB" sz="1400" b="0" i="0" u="none" strike="noStrike" kern="1200" cap="none" spc="0" normalizeH="0" baseline="0" noProof="0" dirty="0">
              <a:ln>
                <a:noFill/>
              </a:ln>
              <a:solidFill>
                <a:srgbClr val="000000"/>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401110"/>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3" y="1148501"/>
              <a:ext cx="2981657" cy="338554"/>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72727"/>
                  </a:solidFill>
                  <a:effectLst/>
                  <a:uLnTx/>
                  <a:uFillTx/>
                  <a:latin typeface="Calibri Light" panose="020F0302020204030204"/>
                  <a:ea typeface="+mn-ea"/>
                  <a:cs typeface="+mn-cs"/>
                </a:rPr>
                <a:t>Break even revenue $ </a:t>
              </a:r>
              <a:endParaRPr kumimoji="0" lang="en-US" sz="1600" b="1" i="0" u="none" strike="noStrike" kern="1200" cap="none" spc="0" normalizeH="0" baseline="0" noProof="0" dirty="0">
                <a:ln>
                  <a:noFill/>
                </a:ln>
                <a:solidFill>
                  <a:srgbClr val="272727"/>
                </a:solidFill>
                <a:effectLst/>
                <a:uLnTx/>
                <a:uFillTx/>
                <a:latin typeface="Calibri Light" panose="020F0302020204030204"/>
                <a:ea typeface="+mn-ea"/>
                <a:cs typeface="+mn-cs"/>
              </a:endParaRPr>
            </a:p>
          </p:txBody>
        </p:sp>
      </p:grpSp>
      <p:sp>
        <p:nvSpPr>
          <p:cNvPr id="36" name="TextBox 35">
            <a:extLst>
              <a:ext uri="{FF2B5EF4-FFF2-40B4-BE49-F238E27FC236}">
                <a16:creationId xmlns:a16="http://schemas.microsoft.com/office/drawing/2014/main" id="{078B5968-D118-45A6-895C-D9F1FEC7E23B}"/>
              </a:ext>
            </a:extLst>
          </p:cNvPr>
          <p:cNvSpPr txBox="1"/>
          <p:nvPr/>
        </p:nvSpPr>
        <p:spPr>
          <a:xfrm>
            <a:off x="1880052" y="5253712"/>
            <a:ext cx="444352" cy="707886"/>
          </a:xfrm>
          <a:prstGeom prst="rect">
            <a:avLst/>
          </a:prstGeom>
          <a:noFill/>
        </p:spPr>
        <p:txBody>
          <a:bodyPr wrap="none" rtlCol="0" anchor="ctr">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Poppins" pitchFamily="2" charset="77"/>
                <a:ea typeface="+mn-ea"/>
                <a:cs typeface="Poppins" pitchFamily="2" charset="77"/>
              </a:rPr>
              <a:t>3</a:t>
            </a:r>
          </a:p>
        </p:txBody>
      </p:sp>
      <p:cxnSp>
        <p:nvCxnSpPr>
          <p:cNvPr id="39" name="Straight Connector 38">
            <a:extLst>
              <a:ext uri="{FF2B5EF4-FFF2-40B4-BE49-F238E27FC236}">
                <a16:creationId xmlns:a16="http://schemas.microsoft.com/office/drawing/2014/main" id="{0D1E0B6E-580B-42EF-B9DB-83C9C65376D2}"/>
              </a:ext>
            </a:extLst>
          </p:cNvPr>
          <p:cNvCxnSpPr/>
          <p:nvPr/>
        </p:nvCxnSpPr>
        <p:spPr>
          <a:xfrm>
            <a:off x="6943918" y="5688365"/>
            <a:ext cx="193249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C9CA93C-0DF8-4EB0-9A45-08E37680F009}"/>
              </a:ext>
            </a:extLst>
          </p:cNvPr>
          <p:cNvSpPr/>
          <p:nvPr/>
        </p:nvSpPr>
        <p:spPr>
          <a:xfrm>
            <a:off x="7028129" y="2984516"/>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7" name="Rectangle 26">
            <a:extLst>
              <a:ext uri="{FF2B5EF4-FFF2-40B4-BE49-F238E27FC236}">
                <a16:creationId xmlns:a16="http://schemas.microsoft.com/office/drawing/2014/main" id="{3F8BC796-066D-46D8-B2FF-2366A393276F}"/>
              </a:ext>
            </a:extLst>
          </p:cNvPr>
          <p:cNvSpPr/>
          <p:nvPr/>
        </p:nvSpPr>
        <p:spPr>
          <a:xfrm>
            <a:off x="5457846" y="2987158"/>
            <a:ext cx="1534461"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72727"/>
                </a:solidFill>
                <a:effectLst/>
                <a:uLnTx/>
                <a:uFillTx/>
                <a:latin typeface="Calibri Light" panose="020F0302020204030204"/>
                <a:ea typeface="+mn-ea"/>
                <a:cs typeface="+mn-cs"/>
              </a:rPr>
              <a:t>Break even revenue $ </a:t>
            </a:r>
            <a:endParaRPr kumimoji="0" lang="en-US" sz="1400" b="1" i="0" u="none" strike="noStrike" kern="1200" cap="none" spc="0" normalizeH="0" baseline="0" noProof="0" dirty="0">
              <a:ln>
                <a:noFill/>
              </a:ln>
              <a:solidFill>
                <a:srgbClr val="272727"/>
              </a:solidFill>
              <a:effectLst/>
              <a:uLnTx/>
              <a:uFillTx/>
              <a:latin typeface="Calibri Light" panose="020F0302020204030204"/>
              <a:ea typeface="+mn-ea"/>
              <a:cs typeface="+mn-cs"/>
            </a:endParaRPr>
          </a:p>
        </p:txBody>
      </p:sp>
      <p:sp>
        <p:nvSpPr>
          <p:cNvPr id="30" name="Rectangle 29">
            <a:extLst>
              <a:ext uri="{FF2B5EF4-FFF2-40B4-BE49-F238E27FC236}">
                <a16:creationId xmlns:a16="http://schemas.microsoft.com/office/drawing/2014/main" id="{FA3B39AB-545A-48CD-BE5D-A6A08B142D52}"/>
              </a:ext>
            </a:extLst>
          </p:cNvPr>
          <p:cNvSpPr/>
          <p:nvPr/>
        </p:nvSpPr>
        <p:spPr>
          <a:xfrm>
            <a:off x="7714122" y="2987158"/>
            <a:ext cx="2112724"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Light" panose="020F0302020204030204"/>
                <a:ea typeface="+mn-ea"/>
                <a:cs typeface="+mn-cs"/>
              </a:rPr>
              <a:t>Breakeven volume ( units )</a:t>
            </a:r>
          </a:p>
        </p:txBody>
      </p:sp>
      <p:sp>
        <p:nvSpPr>
          <p:cNvPr id="25" name="Rectangle 24">
            <a:extLst>
              <a:ext uri="{FF2B5EF4-FFF2-40B4-BE49-F238E27FC236}">
                <a16:creationId xmlns:a16="http://schemas.microsoft.com/office/drawing/2014/main" id="{39F7D08C-0C06-40B3-B202-4AEA90E1C416}"/>
              </a:ext>
            </a:extLst>
          </p:cNvPr>
          <p:cNvSpPr/>
          <p:nvPr/>
        </p:nvSpPr>
        <p:spPr>
          <a:xfrm>
            <a:off x="7224172" y="4746388"/>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8" name="Rectangle 27">
            <a:extLst>
              <a:ext uri="{FF2B5EF4-FFF2-40B4-BE49-F238E27FC236}">
                <a16:creationId xmlns:a16="http://schemas.microsoft.com/office/drawing/2014/main" id="{E257DE08-AA7C-4031-AC89-FC4BBC0256F7}"/>
              </a:ext>
            </a:extLst>
          </p:cNvPr>
          <p:cNvSpPr/>
          <p:nvPr/>
        </p:nvSpPr>
        <p:spPr>
          <a:xfrm>
            <a:off x="5653889" y="4749030"/>
            <a:ext cx="1534461"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72727"/>
                </a:solidFill>
                <a:effectLst/>
                <a:uLnTx/>
                <a:uFillTx/>
                <a:latin typeface="Calibri Light" panose="020F0302020204030204"/>
                <a:ea typeface="+mn-ea"/>
                <a:cs typeface="+mn-cs"/>
              </a:rPr>
              <a:t>Break even revenue $ </a:t>
            </a:r>
            <a:endParaRPr kumimoji="0" lang="en-US" sz="1400" b="1" i="0" u="none" strike="noStrike" kern="1200" cap="none" spc="0" normalizeH="0" baseline="0" noProof="0" dirty="0">
              <a:ln>
                <a:noFill/>
              </a:ln>
              <a:solidFill>
                <a:srgbClr val="272727"/>
              </a:solidFill>
              <a:effectLst/>
              <a:uLnTx/>
              <a:uFillTx/>
              <a:latin typeface="Calibri Light" panose="020F0302020204030204"/>
              <a:ea typeface="+mn-ea"/>
              <a:cs typeface="+mn-cs"/>
            </a:endParaRPr>
          </a:p>
        </p:txBody>
      </p:sp>
      <p:sp>
        <p:nvSpPr>
          <p:cNvPr id="29" name="Rectangle 28">
            <a:extLst>
              <a:ext uri="{FF2B5EF4-FFF2-40B4-BE49-F238E27FC236}">
                <a16:creationId xmlns:a16="http://schemas.microsoft.com/office/drawing/2014/main" id="{DEFE478C-3CD8-4470-9A24-B666E40F719B}"/>
              </a:ext>
            </a:extLst>
          </p:cNvPr>
          <p:cNvSpPr/>
          <p:nvPr/>
        </p:nvSpPr>
        <p:spPr>
          <a:xfrm>
            <a:off x="7850739" y="4518317"/>
            <a:ext cx="3388391"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Light" panose="020F0302020204030204"/>
                <a:ea typeface="+mn-ea"/>
                <a:cs typeface="+mn-cs"/>
              </a:rPr>
              <a:t>Fixed costs $</a:t>
            </a:r>
          </a:p>
        </p:txBody>
      </p:sp>
      <p:sp>
        <p:nvSpPr>
          <p:cNvPr id="31" name="Rectangle 30">
            <a:extLst>
              <a:ext uri="{FF2B5EF4-FFF2-40B4-BE49-F238E27FC236}">
                <a16:creationId xmlns:a16="http://schemas.microsoft.com/office/drawing/2014/main" id="{4E55827E-65A4-4CD7-B9FD-ED29AF5F8BEB}"/>
              </a:ext>
            </a:extLst>
          </p:cNvPr>
          <p:cNvSpPr/>
          <p:nvPr/>
        </p:nvSpPr>
        <p:spPr>
          <a:xfrm>
            <a:off x="7850740" y="5001513"/>
            <a:ext cx="3388390"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Light" panose="020F0302020204030204"/>
                <a:ea typeface="+mn-ea"/>
                <a:cs typeface="+mn-cs"/>
              </a:rPr>
              <a:t>Contribution margin %</a:t>
            </a:r>
          </a:p>
        </p:txBody>
      </p:sp>
      <p:sp>
        <p:nvSpPr>
          <p:cNvPr id="32" name="Rectangle 31">
            <a:extLst>
              <a:ext uri="{FF2B5EF4-FFF2-40B4-BE49-F238E27FC236}">
                <a16:creationId xmlns:a16="http://schemas.microsoft.com/office/drawing/2014/main" id="{9A8DA901-F064-4A41-BC0D-34019EA0F420}"/>
              </a:ext>
            </a:extLst>
          </p:cNvPr>
          <p:cNvSpPr/>
          <p:nvPr/>
        </p:nvSpPr>
        <p:spPr>
          <a:xfrm>
            <a:off x="9921619" y="2977152"/>
            <a:ext cx="245535"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Light" panose="020F0302020204030204"/>
                <a:ea typeface="+mn-ea"/>
                <a:cs typeface="+mn-cs"/>
              </a:rPr>
              <a:t>X</a:t>
            </a:r>
          </a:p>
        </p:txBody>
      </p:sp>
      <p:sp>
        <p:nvSpPr>
          <p:cNvPr id="34" name="Rectangle 33">
            <a:extLst>
              <a:ext uri="{FF2B5EF4-FFF2-40B4-BE49-F238E27FC236}">
                <a16:creationId xmlns:a16="http://schemas.microsoft.com/office/drawing/2014/main" id="{012EAC3F-31D7-4369-AEF1-272C97F7A774}"/>
              </a:ext>
            </a:extLst>
          </p:cNvPr>
          <p:cNvSpPr/>
          <p:nvPr/>
        </p:nvSpPr>
        <p:spPr>
          <a:xfrm>
            <a:off x="10290520" y="2984514"/>
            <a:ext cx="1228325"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Light" panose="020F0302020204030204"/>
                <a:ea typeface="+mn-ea"/>
                <a:cs typeface="+mn-cs"/>
              </a:rPr>
              <a:t>price per unit </a:t>
            </a:r>
          </a:p>
        </p:txBody>
      </p:sp>
      <p:sp>
        <p:nvSpPr>
          <p:cNvPr id="35" name="Rectangle 34">
            <a:extLst>
              <a:ext uri="{FF2B5EF4-FFF2-40B4-BE49-F238E27FC236}">
                <a16:creationId xmlns:a16="http://schemas.microsoft.com/office/drawing/2014/main" id="{135358E4-235B-4E25-A322-184B0EEC3F32}"/>
              </a:ext>
            </a:extLst>
          </p:cNvPr>
          <p:cNvSpPr/>
          <p:nvPr/>
        </p:nvSpPr>
        <p:spPr>
          <a:xfrm>
            <a:off x="8364933" y="3732166"/>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Or</a:t>
            </a:r>
          </a:p>
        </p:txBody>
      </p:sp>
      <p:sp>
        <p:nvSpPr>
          <p:cNvPr id="33" name="TextBox 32">
            <a:extLst>
              <a:ext uri="{FF2B5EF4-FFF2-40B4-BE49-F238E27FC236}">
                <a16:creationId xmlns:a16="http://schemas.microsoft.com/office/drawing/2014/main" id="{C0AB225B-2A67-6EF5-8A77-730DB2700F4F}"/>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7" name="TextBox 36">
            <a:extLst>
              <a:ext uri="{FF2B5EF4-FFF2-40B4-BE49-F238E27FC236}">
                <a16:creationId xmlns:a16="http://schemas.microsoft.com/office/drawing/2014/main" id="{C915A7F8-3D47-877F-6B19-63E556F7C725}"/>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16529191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91816" y="2049010"/>
            <a:ext cx="4697771" cy="1822037"/>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202124"/>
                </a:solidFill>
                <a:effectLst/>
                <a:uLnTx/>
                <a:uFillTx/>
                <a:latin typeface="Lato Light" panose="020F0502020204030203" pitchFamily="34" charset="0"/>
                <a:ea typeface="Lato Light" panose="020F0502020204030203" pitchFamily="34" charset="0"/>
                <a:cs typeface="Lato Light" panose="020F0502020204030203" pitchFamily="34" charset="0"/>
              </a:rPr>
              <a:t>Numeric distribution is the number of outlets in which a product or reference is available. This indicator is generally compared with the total number of points of sale in the universe studied to calculate the percentage of  distribution.</a:t>
            </a:r>
            <a:endParaRPr kumimoji="0" lang="en-GB" sz="1800" b="0" i="0" u="none" strike="noStrike" kern="1200" cap="none" spc="0" normalizeH="0" baseline="0" noProof="0" dirty="0">
              <a:ln>
                <a:noFill/>
              </a:ln>
              <a:solidFill>
                <a:srgbClr val="000000"/>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401110"/>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3" y="1148501"/>
              <a:ext cx="2981657" cy="338554"/>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Numeric Distribution </a:t>
              </a:r>
              <a:endParaRPr kumimoji="0" lang="en-US" sz="1600" b="0" i="0" u="none" strike="noStrike" kern="1200" cap="none" spc="0" normalizeH="0" baseline="0" noProof="0" dirty="0">
                <a:ln>
                  <a:noFill/>
                </a:ln>
                <a:solidFill>
                  <a:srgbClr val="272727"/>
                </a:solidFill>
                <a:effectLst/>
                <a:uLnTx/>
                <a:uFillTx/>
                <a:latin typeface="Calibri Light" panose="020F0302020204030204"/>
                <a:ea typeface="+mn-ea"/>
                <a:cs typeface="+mn-cs"/>
              </a:endParaRPr>
            </a:p>
          </p:txBody>
        </p:sp>
      </p:grpSp>
      <p:sp>
        <p:nvSpPr>
          <p:cNvPr id="36" name="TextBox 35">
            <a:extLst>
              <a:ext uri="{FF2B5EF4-FFF2-40B4-BE49-F238E27FC236}">
                <a16:creationId xmlns:a16="http://schemas.microsoft.com/office/drawing/2014/main" id="{078B5968-D118-45A6-895C-D9F1FEC7E23B}"/>
              </a:ext>
            </a:extLst>
          </p:cNvPr>
          <p:cNvSpPr txBox="1"/>
          <p:nvPr/>
        </p:nvSpPr>
        <p:spPr>
          <a:xfrm>
            <a:off x="1880052" y="5253712"/>
            <a:ext cx="444352" cy="707886"/>
          </a:xfrm>
          <a:prstGeom prst="rect">
            <a:avLst/>
          </a:prstGeom>
          <a:noFill/>
        </p:spPr>
        <p:txBody>
          <a:bodyPr wrap="none" rtlCol="0" anchor="ctr">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Poppins" pitchFamily="2" charset="77"/>
                <a:ea typeface="+mn-ea"/>
                <a:cs typeface="Poppins" pitchFamily="2" charset="77"/>
              </a:rPr>
              <a:t>3</a:t>
            </a:r>
          </a:p>
        </p:txBody>
      </p:sp>
      <p:cxnSp>
        <p:nvCxnSpPr>
          <p:cNvPr id="39" name="Straight Connector 38">
            <a:extLst>
              <a:ext uri="{FF2B5EF4-FFF2-40B4-BE49-F238E27FC236}">
                <a16:creationId xmlns:a16="http://schemas.microsoft.com/office/drawing/2014/main" id="{0D1E0B6E-580B-42EF-B9DB-83C9C65376D2}"/>
              </a:ext>
            </a:extLst>
          </p:cNvPr>
          <p:cNvCxnSpPr/>
          <p:nvPr/>
        </p:nvCxnSpPr>
        <p:spPr>
          <a:xfrm>
            <a:off x="7315170" y="3993581"/>
            <a:ext cx="193249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39F7D08C-0C06-40B3-B202-4AEA90E1C416}"/>
              </a:ext>
            </a:extLst>
          </p:cNvPr>
          <p:cNvSpPr/>
          <p:nvPr/>
        </p:nvSpPr>
        <p:spPr>
          <a:xfrm>
            <a:off x="7595424" y="3051604"/>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lumMod val="50000"/>
                    <a:lumOff val="50000"/>
                  </a:srgb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8" name="Rectangle 27">
            <a:extLst>
              <a:ext uri="{FF2B5EF4-FFF2-40B4-BE49-F238E27FC236}">
                <a16:creationId xmlns:a16="http://schemas.microsoft.com/office/drawing/2014/main" id="{E257DE08-AA7C-4031-AC89-FC4BBC0256F7}"/>
              </a:ext>
            </a:extLst>
          </p:cNvPr>
          <p:cNvSpPr/>
          <p:nvPr/>
        </p:nvSpPr>
        <p:spPr>
          <a:xfrm>
            <a:off x="5627109" y="3054246"/>
            <a:ext cx="1932494"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727"/>
                </a:solidFill>
                <a:effectLst/>
                <a:uLnTx/>
                <a:uFillTx/>
                <a:latin typeface="Calibri Light" panose="020F0302020204030204"/>
                <a:ea typeface="+mn-ea"/>
                <a:cs typeface="+mn-cs"/>
              </a:rPr>
              <a:t>Numeric Distribution %</a:t>
            </a:r>
            <a:endParaRPr kumimoji="0" lang="en-US" sz="1400" b="1" i="0" u="none" strike="noStrike" kern="1200" cap="none" spc="0" normalizeH="0" baseline="0" noProof="0" dirty="0">
              <a:ln>
                <a:noFill/>
              </a:ln>
              <a:solidFill>
                <a:srgbClr val="272727"/>
              </a:solidFill>
              <a:effectLst/>
              <a:uLnTx/>
              <a:uFillTx/>
              <a:latin typeface="Calibri Light" panose="020F0302020204030204"/>
              <a:ea typeface="+mn-ea"/>
              <a:cs typeface="+mn-cs"/>
            </a:endParaRPr>
          </a:p>
        </p:txBody>
      </p:sp>
      <p:sp>
        <p:nvSpPr>
          <p:cNvPr id="29" name="Rectangle 28">
            <a:extLst>
              <a:ext uri="{FF2B5EF4-FFF2-40B4-BE49-F238E27FC236}">
                <a16:creationId xmlns:a16="http://schemas.microsoft.com/office/drawing/2014/main" id="{DEFE478C-3CD8-4470-9A24-B666E40F719B}"/>
              </a:ext>
            </a:extLst>
          </p:cNvPr>
          <p:cNvSpPr/>
          <p:nvPr/>
        </p:nvSpPr>
        <p:spPr>
          <a:xfrm>
            <a:off x="8221991" y="2823533"/>
            <a:ext cx="3017139"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Number of outlets carrying brand </a:t>
            </a:r>
          </a:p>
        </p:txBody>
      </p:sp>
      <p:sp>
        <p:nvSpPr>
          <p:cNvPr id="31" name="Rectangle 30">
            <a:extLst>
              <a:ext uri="{FF2B5EF4-FFF2-40B4-BE49-F238E27FC236}">
                <a16:creationId xmlns:a16="http://schemas.microsoft.com/office/drawing/2014/main" id="{4E55827E-65A4-4CD7-B9FD-ED29AF5F8BEB}"/>
              </a:ext>
            </a:extLst>
          </p:cNvPr>
          <p:cNvSpPr/>
          <p:nvPr/>
        </p:nvSpPr>
        <p:spPr>
          <a:xfrm>
            <a:off x="8221992" y="3306729"/>
            <a:ext cx="3017138"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Total number of outlets  </a:t>
            </a:r>
          </a:p>
        </p:txBody>
      </p:sp>
      <p:sp>
        <p:nvSpPr>
          <p:cNvPr id="37" name="TextBox 36">
            <a:extLst>
              <a:ext uri="{FF2B5EF4-FFF2-40B4-BE49-F238E27FC236}">
                <a16:creationId xmlns:a16="http://schemas.microsoft.com/office/drawing/2014/main" id="{D8A8651C-58E8-4BAD-BAFF-E0D25E28743C}"/>
              </a:ext>
            </a:extLst>
          </p:cNvPr>
          <p:cNvSpPr txBox="1"/>
          <p:nvPr/>
        </p:nvSpPr>
        <p:spPr>
          <a:xfrm>
            <a:off x="1072731" y="5829991"/>
            <a:ext cx="201209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Light" panose="020F0302020204030204"/>
                <a:ea typeface="+mn-ea"/>
                <a:cs typeface="+mn-cs"/>
              </a:rPr>
              <a:t>Numeric Distribution % = </a:t>
            </a:r>
            <a:endPar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AEA76D00-DCBB-3CBC-8273-4AB11C40CE1D}"/>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0" name="TextBox 29">
            <a:extLst>
              <a:ext uri="{FF2B5EF4-FFF2-40B4-BE49-F238E27FC236}">
                <a16:creationId xmlns:a16="http://schemas.microsoft.com/office/drawing/2014/main" id="{7B9E0C0A-7857-E070-46F7-15823D4CE0A6}"/>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28888920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99485" y="348599"/>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91816" y="2049010"/>
            <a:ext cx="4697771" cy="1606594"/>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Open Sans Light"/>
                <a:ea typeface="+mn-ea"/>
                <a:cs typeface="Open Sans Light"/>
              </a:rPr>
              <a:t>ACV Distribution has a benefit over numeric distribution , which is it provides a great view and measure of customer traffic as it measures the store category sales not just the individual brand</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401110"/>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3" y="1025391"/>
              <a:ext cx="2981657" cy="584775"/>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ACV</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All Commodity Distribution</a:t>
              </a:r>
              <a:endParaRPr kumimoji="0" lang="en-US" sz="16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sp>
        <p:nvSpPr>
          <p:cNvPr id="36" name="TextBox 35">
            <a:extLst>
              <a:ext uri="{FF2B5EF4-FFF2-40B4-BE49-F238E27FC236}">
                <a16:creationId xmlns:a16="http://schemas.microsoft.com/office/drawing/2014/main" id="{078B5968-D118-45A6-895C-D9F1FEC7E23B}"/>
              </a:ext>
            </a:extLst>
          </p:cNvPr>
          <p:cNvSpPr txBox="1"/>
          <p:nvPr/>
        </p:nvSpPr>
        <p:spPr>
          <a:xfrm>
            <a:off x="1864022" y="5253712"/>
            <a:ext cx="476413" cy="707886"/>
          </a:xfrm>
          <a:prstGeom prst="rect">
            <a:avLst/>
          </a:prstGeom>
          <a:noFill/>
        </p:spPr>
        <p:txBody>
          <a:bodyPr wrap="none" rtlCol="0" anchor="ctr">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3</a:t>
            </a:r>
          </a:p>
        </p:txBody>
      </p:sp>
      <p:cxnSp>
        <p:nvCxnSpPr>
          <p:cNvPr id="39" name="Straight Connector 38">
            <a:extLst>
              <a:ext uri="{FF2B5EF4-FFF2-40B4-BE49-F238E27FC236}">
                <a16:creationId xmlns:a16="http://schemas.microsoft.com/office/drawing/2014/main" id="{0D1E0B6E-580B-42EF-B9DB-83C9C65376D2}"/>
              </a:ext>
            </a:extLst>
          </p:cNvPr>
          <p:cNvCxnSpPr/>
          <p:nvPr/>
        </p:nvCxnSpPr>
        <p:spPr>
          <a:xfrm>
            <a:off x="7315170" y="3993581"/>
            <a:ext cx="193249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39F7D08C-0C06-40B3-B202-4AEA90E1C416}"/>
              </a:ext>
            </a:extLst>
          </p:cNvPr>
          <p:cNvSpPr/>
          <p:nvPr/>
        </p:nvSpPr>
        <p:spPr>
          <a:xfrm>
            <a:off x="7595424" y="3051604"/>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8" name="Rectangle 27">
            <a:extLst>
              <a:ext uri="{FF2B5EF4-FFF2-40B4-BE49-F238E27FC236}">
                <a16:creationId xmlns:a16="http://schemas.microsoft.com/office/drawing/2014/main" id="{E257DE08-AA7C-4031-AC89-FC4BBC0256F7}"/>
              </a:ext>
            </a:extLst>
          </p:cNvPr>
          <p:cNvSpPr/>
          <p:nvPr/>
        </p:nvSpPr>
        <p:spPr>
          <a:xfrm>
            <a:off x="5627109" y="3054246"/>
            <a:ext cx="1932494"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727"/>
                </a:solidFill>
                <a:effectLst/>
                <a:uLnTx/>
                <a:uFillTx/>
                <a:latin typeface="Calibri Light" panose="020F0302020204030204"/>
                <a:ea typeface="+mn-ea"/>
                <a:cs typeface="+mn-cs"/>
              </a:rPr>
              <a:t>ACV Distribution %</a:t>
            </a:r>
            <a:endParaRPr kumimoji="0" lang="en-US" sz="14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9" name="Rectangle 28">
            <a:extLst>
              <a:ext uri="{FF2B5EF4-FFF2-40B4-BE49-F238E27FC236}">
                <a16:creationId xmlns:a16="http://schemas.microsoft.com/office/drawing/2014/main" id="{DEFE478C-3CD8-4470-9A24-B666E40F719B}"/>
              </a:ext>
            </a:extLst>
          </p:cNvPr>
          <p:cNvSpPr/>
          <p:nvPr/>
        </p:nvSpPr>
        <p:spPr>
          <a:xfrm>
            <a:off x="8221991" y="2823533"/>
            <a:ext cx="3017139"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Total sales of outlets carrying brand  </a:t>
            </a:r>
          </a:p>
        </p:txBody>
      </p:sp>
      <p:sp>
        <p:nvSpPr>
          <p:cNvPr id="31" name="Rectangle 30">
            <a:extLst>
              <a:ext uri="{FF2B5EF4-FFF2-40B4-BE49-F238E27FC236}">
                <a16:creationId xmlns:a16="http://schemas.microsoft.com/office/drawing/2014/main" id="{4E55827E-65A4-4CD7-B9FD-ED29AF5F8BEB}"/>
              </a:ext>
            </a:extLst>
          </p:cNvPr>
          <p:cNvSpPr/>
          <p:nvPr/>
        </p:nvSpPr>
        <p:spPr>
          <a:xfrm>
            <a:off x="8221992" y="3306729"/>
            <a:ext cx="3017138"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Total sales of all outlets</a:t>
            </a:r>
          </a:p>
        </p:txBody>
      </p:sp>
      <p:sp>
        <p:nvSpPr>
          <p:cNvPr id="37" name="TextBox 36">
            <a:extLst>
              <a:ext uri="{FF2B5EF4-FFF2-40B4-BE49-F238E27FC236}">
                <a16:creationId xmlns:a16="http://schemas.microsoft.com/office/drawing/2014/main" id="{D8A8651C-58E8-4BAD-BAFF-E0D25E28743C}"/>
              </a:ext>
            </a:extLst>
          </p:cNvPr>
          <p:cNvSpPr txBox="1"/>
          <p:nvPr/>
        </p:nvSpPr>
        <p:spPr>
          <a:xfrm>
            <a:off x="1072731" y="5829991"/>
            <a:ext cx="201209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Numeric Distribution % = </a:t>
            </a:r>
            <a:endParaRPr kumimoji="0" lang="en-GB" sz="14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7" name="TextBox 26">
            <a:extLst>
              <a:ext uri="{FF2B5EF4-FFF2-40B4-BE49-F238E27FC236}">
                <a16:creationId xmlns:a16="http://schemas.microsoft.com/office/drawing/2014/main" id="{58A4251A-7AB4-0EA5-9C8E-C13177788A83}"/>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0" name="TextBox 29">
            <a:extLst>
              <a:ext uri="{FF2B5EF4-FFF2-40B4-BE49-F238E27FC236}">
                <a16:creationId xmlns:a16="http://schemas.microsoft.com/office/drawing/2014/main" id="{54CAAD57-23F9-07CE-A115-343E1599A06F}"/>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36940932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91816" y="2085586"/>
            <a:ext cx="4697771" cy="1606594"/>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Open Sans Light"/>
                <a:ea typeface="+mn-ea"/>
                <a:cs typeface="Open Sans Light"/>
              </a:rPr>
              <a:t>ACV Distribution has a benefit over numeric distribution , which is it provides a great view and measure of customer traffic as it measures the store category sales not just the individual brand</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401110"/>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2" y="1010002"/>
              <a:ext cx="3074122" cy="615553"/>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PCV</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Product Category  volume  distribution </a:t>
              </a:r>
              <a:endParaRPr kumimoji="0" lang="en-US" sz="1600" b="0" i="0" u="none" strike="noStrike" kern="1200" cap="none" spc="0" normalizeH="0" baseline="0" noProof="0" dirty="0">
                <a:ln>
                  <a:noFill/>
                </a:ln>
                <a:solidFill>
                  <a:srgbClr val="272727"/>
                </a:solidFill>
                <a:effectLst/>
                <a:uLnTx/>
                <a:uFillTx/>
                <a:latin typeface="Calibri Light" panose="020F0302020204030204"/>
                <a:ea typeface="+mn-ea"/>
                <a:cs typeface="+mn-cs"/>
              </a:endParaRPr>
            </a:p>
          </p:txBody>
        </p:sp>
      </p:grpSp>
      <p:sp>
        <p:nvSpPr>
          <p:cNvPr id="36" name="TextBox 35">
            <a:extLst>
              <a:ext uri="{FF2B5EF4-FFF2-40B4-BE49-F238E27FC236}">
                <a16:creationId xmlns:a16="http://schemas.microsoft.com/office/drawing/2014/main" id="{078B5968-D118-45A6-895C-D9F1FEC7E23B}"/>
              </a:ext>
            </a:extLst>
          </p:cNvPr>
          <p:cNvSpPr txBox="1"/>
          <p:nvPr/>
        </p:nvSpPr>
        <p:spPr>
          <a:xfrm>
            <a:off x="1864022" y="5253712"/>
            <a:ext cx="476413" cy="707886"/>
          </a:xfrm>
          <a:prstGeom prst="rect">
            <a:avLst/>
          </a:prstGeom>
          <a:noFill/>
        </p:spPr>
        <p:txBody>
          <a:bodyPr wrap="none" rtlCol="0" anchor="ctr">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3</a:t>
            </a:r>
          </a:p>
        </p:txBody>
      </p:sp>
      <p:cxnSp>
        <p:nvCxnSpPr>
          <p:cNvPr id="39" name="Straight Connector 38">
            <a:extLst>
              <a:ext uri="{FF2B5EF4-FFF2-40B4-BE49-F238E27FC236}">
                <a16:creationId xmlns:a16="http://schemas.microsoft.com/office/drawing/2014/main" id="{0D1E0B6E-580B-42EF-B9DB-83C9C65376D2}"/>
              </a:ext>
            </a:extLst>
          </p:cNvPr>
          <p:cNvCxnSpPr/>
          <p:nvPr/>
        </p:nvCxnSpPr>
        <p:spPr>
          <a:xfrm>
            <a:off x="6782506" y="3993581"/>
            <a:ext cx="193249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39F7D08C-0C06-40B3-B202-4AEA90E1C416}"/>
              </a:ext>
            </a:extLst>
          </p:cNvPr>
          <p:cNvSpPr/>
          <p:nvPr/>
        </p:nvSpPr>
        <p:spPr>
          <a:xfrm>
            <a:off x="7055727" y="3054246"/>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8" name="Rectangle 27">
            <a:extLst>
              <a:ext uri="{FF2B5EF4-FFF2-40B4-BE49-F238E27FC236}">
                <a16:creationId xmlns:a16="http://schemas.microsoft.com/office/drawing/2014/main" id="{E257DE08-AA7C-4031-AC89-FC4BBC0256F7}"/>
              </a:ext>
            </a:extLst>
          </p:cNvPr>
          <p:cNvSpPr/>
          <p:nvPr/>
        </p:nvSpPr>
        <p:spPr>
          <a:xfrm>
            <a:off x="5245357" y="3058897"/>
            <a:ext cx="1785745"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727"/>
                </a:solidFill>
                <a:effectLst/>
                <a:uLnTx/>
                <a:uFillTx/>
                <a:latin typeface="Calibri Light" panose="020F0302020204030204"/>
                <a:ea typeface="+mn-ea"/>
                <a:cs typeface="+mn-cs"/>
              </a:rPr>
              <a:t>PCV Distribution %</a:t>
            </a:r>
            <a:endParaRPr kumimoji="0" lang="en-US" sz="14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9" name="Rectangle 28">
            <a:extLst>
              <a:ext uri="{FF2B5EF4-FFF2-40B4-BE49-F238E27FC236}">
                <a16:creationId xmlns:a16="http://schemas.microsoft.com/office/drawing/2014/main" id="{DEFE478C-3CD8-4470-9A24-B666E40F719B}"/>
              </a:ext>
            </a:extLst>
          </p:cNvPr>
          <p:cNvSpPr/>
          <p:nvPr/>
        </p:nvSpPr>
        <p:spPr>
          <a:xfrm>
            <a:off x="7689327" y="2823533"/>
            <a:ext cx="354980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Total Category sales of outlets carrying brand  </a:t>
            </a:r>
          </a:p>
        </p:txBody>
      </p:sp>
      <p:sp>
        <p:nvSpPr>
          <p:cNvPr id="31" name="Rectangle 30">
            <a:extLst>
              <a:ext uri="{FF2B5EF4-FFF2-40B4-BE49-F238E27FC236}">
                <a16:creationId xmlns:a16="http://schemas.microsoft.com/office/drawing/2014/main" id="{4E55827E-65A4-4CD7-B9FD-ED29AF5F8BEB}"/>
              </a:ext>
            </a:extLst>
          </p:cNvPr>
          <p:cNvSpPr/>
          <p:nvPr/>
        </p:nvSpPr>
        <p:spPr>
          <a:xfrm>
            <a:off x="7689328" y="3306729"/>
            <a:ext cx="3549802"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Total category sales of all outlets</a:t>
            </a:r>
          </a:p>
        </p:txBody>
      </p:sp>
      <p:sp>
        <p:nvSpPr>
          <p:cNvPr id="37" name="TextBox 36">
            <a:extLst>
              <a:ext uri="{FF2B5EF4-FFF2-40B4-BE49-F238E27FC236}">
                <a16:creationId xmlns:a16="http://schemas.microsoft.com/office/drawing/2014/main" id="{D8A8651C-58E8-4BAD-BAFF-E0D25E28743C}"/>
              </a:ext>
            </a:extLst>
          </p:cNvPr>
          <p:cNvSpPr txBox="1"/>
          <p:nvPr/>
        </p:nvSpPr>
        <p:spPr>
          <a:xfrm>
            <a:off x="1072731" y="5829991"/>
            <a:ext cx="201209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Numeric Distribution % = </a:t>
            </a:r>
            <a:endParaRPr kumimoji="0" lang="en-GB" sz="14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7" name="TextBox 26">
            <a:extLst>
              <a:ext uri="{FF2B5EF4-FFF2-40B4-BE49-F238E27FC236}">
                <a16:creationId xmlns:a16="http://schemas.microsoft.com/office/drawing/2014/main" id="{F07E4B5F-ECF9-BD70-6AC1-A6C6CF2AB808}"/>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0" name="TextBox 29">
            <a:extLst>
              <a:ext uri="{FF2B5EF4-FFF2-40B4-BE49-F238E27FC236}">
                <a16:creationId xmlns:a16="http://schemas.microsoft.com/office/drawing/2014/main" id="{B983C34C-FFCE-040F-30CF-A695ACFD3EB5}"/>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29246671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91816" y="2049010"/>
            <a:ext cx="4697771" cy="2117503"/>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Lato Light" panose="020F0502020204030203" pitchFamily="34" charset="0"/>
                <a:ea typeface="Lato Light" panose="020F0502020204030203" pitchFamily="34" charset="0"/>
                <a:cs typeface="Lato Light" panose="020F0502020204030203" pitchFamily="34" charset="0"/>
              </a:rPr>
              <a:t>Out of stocks measures the effect of listed but unavailable product . This effectively translates into lost sales for the number of days the products is not available , rendering the loss of distribution , but also threatening the life of the product in that store by customers switching to other brands , which effectively translates into a lifetime loss of a customer .</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344042"/>
            <a:ext cx="4187321" cy="892552"/>
            <a:chOff x="327632" y="871503"/>
            <a:chExt cx="3847833" cy="892552"/>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2" y="871503"/>
              <a:ext cx="3074122" cy="892552"/>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Out of stocks %</a:t>
              </a:r>
              <a:endParaRPr kumimoji="0" lang="en-US" sz="1600" b="0" i="0" u="none" strike="noStrike" kern="1200" cap="none" spc="0" normalizeH="0" baseline="0" noProof="0" dirty="0">
                <a:ln>
                  <a:noFill/>
                </a:ln>
                <a:solidFill>
                  <a:srgbClr val="272727"/>
                </a:solidFill>
                <a:effectLst/>
                <a:uLnTx/>
                <a:uFillTx/>
                <a:latin typeface="Calibri Light" panose="020F0302020204030204"/>
                <a:ea typeface="+mn-ea"/>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 </a:t>
              </a:r>
              <a:endParaRPr kumimoji="0" lang="en-US" sz="1600" b="0" i="0" u="none" strike="noStrike" kern="1200" cap="none" spc="0" normalizeH="0" baseline="0" noProof="0" dirty="0">
                <a:ln>
                  <a:noFill/>
                </a:ln>
                <a:solidFill>
                  <a:srgbClr val="272727"/>
                </a:solidFill>
                <a:effectLst/>
                <a:uLnTx/>
                <a:uFillTx/>
                <a:latin typeface="Calibri Light" panose="020F0302020204030204"/>
                <a:ea typeface="+mn-ea"/>
                <a:cs typeface="+mn-cs"/>
              </a:endParaRPr>
            </a:p>
          </p:txBody>
        </p:sp>
      </p:grpSp>
      <p:sp>
        <p:nvSpPr>
          <p:cNvPr id="36" name="TextBox 35">
            <a:extLst>
              <a:ext uri="{FF2B5EF4-FFF2-40B4-BE49-F238E27FC236}">
                <a16:creationId xmlns:a16="http://schemas.microsoft.com/office/drawing/2014/main" id="{078B5968-D118-45A6-895C-D9F1FEC7E23B}"/>
              </a:ext>
            </a:extLst>
          </p:cNvPr>
          <p:cNvSpPr txBox="1"/>
          <p:nvPr/>
        </p:nvSpPr>
        <p:spPr>
          <a:xfrm>
            <a:off x="1864022" y="5253712"/>
            <a:ext cx="476413" cy="707886"/>
          </a:xfrm>
          <a:prstGeom prst="rect">
            <a:avLst/>
          </a:prstGeom>
          <a:noFill/>
        </p:spPr>
        <p:txBody>
          <a:bodyPr wrap="none" rtlCol="0" anchor="ctr">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3</a:t>
            </a:r>
          </a:p>
        </p:txBody>
      </p:sp>
      <p:cxnSp>
        <p:nvCxnSpPr>
          <p:cNvPr id="39" name="Straight Connector 38">
            <a:extLst>
              <a:ext uri="{FF2B5EF4-FFF2-40B4-BE49-F238E27FC236}">
                <a16:creationId xmlns:a16="http://schemas.microsoft.com/office/drawing/2014/main" id="{0D1E0B6E-580B-42EF-B9DB-83C9C65376D2}"/>
              </a:ext>
            </a:extLst>
          </p:cNvPr>
          <p:cNvCxnSpPr/>
          <p:nvPr/>
        </p:nvCxnSpPr>
        <p:spPr>
          <a:xfrm>
            <a:off x="6782506" y="3993581"/>
            <a:ext cx="193249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39F7D08C-0C06-40B3-B202-4AEA90E1C416}"/>
              </a:ext>
            </a:extLst>
          </p:cNvPr>
          <p:cNvSpPr/>
          <p:nvPr/>
        </p:nvSpPr>
        <p:spPr>
          <a:xfrm>
            <a:off x="7055727" y="3054246"/>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8" name="Rectangle 27">
            <a:extLst>
              <a:ext uri="{FF2B5EF4-FFF2-40B4-BE49-F238E27FC236}">
                <a16:creationId xmlns:a16="http://schemas.microsoft.com/office/drawing/2014/main" id="{E257DE08-AA7C-4031-AC89-FC4BBC0256F7}"/>
              </a:ext>
            </a:extLst>
          </p:cNvPr>
          <p:cNvSpPr/>
          <p:nvPr/>
        </p:nvSpPr>
        <p:spPr>
          <a:xfrm>
            <a:off x="5245357" y="3058897"/>
            <a:ext cx="1785745"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727"/>
                </a:solidFill>
                <a:effectLst/>
                <a:uLnTx/>
                <a:uFillTx/>
                <a:latin typeface="Calibri Light" panose="020F0302020204030204"/>
                <a:ea typeface="+mn-ea"/>
                <a:cs typeface="+mn-cs"/>
              </a:rPr>
              <a:t>OOS %</a:t>
            </a:r>
            <a:endParaRPr kumimoji="0" lang="en-US" sz="1200" b="0" i="0" u="none" strike="noStrike" kern="1200" cap="none" spc="0" normalizeH="0" baseline="0" noProof="0" dirty="0">
              <a:ln>
                <a:noFill/>
              </a:ln>
              <a:solidFill>
                <a:srgbClr val="272727"/>
              </a:solidFill>
              <a:effectLst/>
              <a:uLnTx/>
              <a:uFillTx/>
              <a:latin typeface="Calibri Light" panose="020F0302020204030204"/>
              <a:ea typeface="+mn-ea"/>
              <a:cs typeface="+mn-cs"/>
            </a:endParaRPr>
          </a:p>
        </p:txBody>
      </p:sp>
      <p:sp>
        <p:nvSpPr>
          <p:cNvPr id="29" name="Rectangle 28">
            <a:extLst>
              <a:ext uri="{FF2B5EF4-FFF2-40B4-BE49-F238E27FC236}">
                <a16:creationId xmlns:a16="http://schemas.microsoft.com/office/drawing/2014/main" id="{DEFE478C-3CD8-4470-9A24-B666E40F719B}"/>
              </a:ext>
            </a:extLst>
          </p:cNvPr>
          <p:cNvSpPr/>
          <p:nvPr/>
        </p:nvSpPr>
        <p:spPr>
          <a:xfrm>
            <a:off x="7689327" y="2823533"/>
            <a:ext cx="354980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Outlets where brand is listed but unavailable </a:t>
            </a:r>
          </a:p>
        </p:txBody>
      </p:sp>
      <p:sp>
        <p:nvSpPr>
          <p:cNvPr id="31" name="Rectangle 30">
            <a:extLst>
              <a:ext uri="{FF2B5EF4-FFF2-40B4-BE49-F238E27FC236}">
                <a16:creationId xmlns:a16="http://schemas.microsoft.com/office/drawing/2014/main" id="{4E55827E-65A4-4CD7-B9FD-ED29AF5F8BEB}"/>
              </a:ext>
            </a:extLst>
          </p:cNvPr>
          <p:cNvSpPr/>
          <p:nvPr/>
        </p:nvSpPr>
        <p:spPr>
          <a:xfrm>
            <a:off x="7689328" y="3306729"/>
            <a:ext cx="3549802"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Total outlets where brand is listed </a:t>
            </a:r>
          </a:p>
        </p:txBody>
      </p:sp>
      <p:sp>
        <p:nvSpPr>
          <p:cNvPr id="37" name="TextBox 36">
            <a:extLst>
              <a:ext uri="{FF2B5EF4-FFF2-40B4-BE49-F238E27FC236}">
                <a16:creationId xmlns:a16="http://schemas.microsoft.com/office/drawing/2014/main" id="{D8A8651C-58E8-4BAD-BAFF-E0D25E28743C}"/>
              </a:ext>
            </a:extLst>
          </p:cNvPr>
          <p:cNvSpPr txBox="1"/>
          <p:nvPr/>
        </p:nvSpPr>
        <p:spPr>
          <a:xfrm>
            <a:off x="1072731" y="5829991"/>
            <a:ext cx="201209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Numeric Distribution % = </a:t>
            </a:r>
            <a:endParaRPr kumimoji="0" lang="en-GB" sz="14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7" name="TextBox 26">
            <a:extLst>
              <a:ext uri="{FF2B5EF4-FFF2-40B4-BE49-F238E27FC236}">
                <a16:creationId xmlns:a16="http://schemas.microsoft.com/office/drawing/2014/main" id="{41D120D1-7396-414E-88C1-956F5B06F04A}"/>
              </a:ext>
            </a:extLst>
          </p:cNvPr>
          <p:cNvSpPr txBox="1"/>
          <p:nvPr/>
        </p:nvSpPr>
        <p:spPr>
          <a:xfrm>
            <a:off x="5453905" y="2721971"/>
            <a:ext cx="166927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272727"/>
                </a:solidFill>
                <a:effectLst/>
                <a:uLnTx/>
                <a:uFillTx/>
                <a:latin typeface="Calibri" panose="020F0502020204030204"/>
                <a:ea typeface="+mn-ea"/>
                <a:cs typeface="+mn-cs"/>
              </a:rPr>
              <a:t>OOS = Out of stock </a:t>
            </a:r>
          </a:p>
        </p:txBody>
      </p:sp>
      <p:sp>
        <p:nvSpPr>
          <p:cNvPr id="30" name="TextBox 29">
            <a:extLst>
              <a:ext uri="{FF2B5EF4-FFF2-40B4-BE49-F238E27FC236}">
                <a16:creationId xmlns:a16="http://schemas.microsoft.com/office/drawing/2014/main" id="{FC105BC4-3CEA-01F6-B3B9-82ED20C65ED6}"/>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2" name="TextBox 31">
            <a:extLst>
              <a:ext uri="{FF2B5EF4-FFF2-40B4-BE49-F238E27FC236}">
                <a16:creationId xmlns:a16="http://schemas.microsoft.com/office/drawing/2014/main" id="{9F18F364-C0C5-2155-FE83-5C3CA6FFD445}"/>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7411843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91816" y="2049010"/>
            <a:ext cx="4697771" cy="1865126"/>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Lato Light" panose="020F0502020204030203" pitchFamily="34" charset="0"/>
                <a:ea typeface="Lato Light" panose="020F0502020204030203" pitchFamily="34" charset="0"/>
                <a:cs typeface="Lato Light" panose="020F0502020204030203" pitchFamily="34" charset="0"/>
              </a:rPr>
              <a:t>DPP represents a products direct gross margin less its direct product costs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Lato Light" panose="020F0502020204030203" pitchFamily="34" charset="0"/>
                <a:ea typeface="Lato Light" panose="020F0502020204030203" pitchFamily="34" charset="0"/>
                <a:cs typeface="Lato Light" panose="020F0502020204030203" pitchFamily="34" charset="0"/>
              </a:rPr>
              <a:t>Typically one would use a ABC system to generate direct costs for individual SKU’s , due to the complexity of the cost calculation it is not widely used . </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344042"/>
            <a:ext cx="4187321" cy="892552"/>
            <a:chOff x="327632" y="871503"/>
            <a:chExt cx="3847833" cy="892552"/>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2" y="871503"/>
              <a:ext cx="3074122" cy="892552"/>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Direct Product  Profitability  </a:t>
              </a:r>
              <a:endParaRPr kumimoji="0" lang="en-US" sz="1600" b="0" i="0" u="none" strike="noStrike" kern="1200" cap="none" spc="0" normalizeH="0" baseline="0" noProof="0" dirty="0">
                <a:ln>
                  <a:noFill/>
                </a:ln>
                <a:solidFill>
                  <a:srgbClr val="272727"/>
                </a:solidFill>
                <a:effectLst/>
                <a:uLnTx/>
                <a:uFillTx/>
                <a:latin typeface="Calibri Light" panose="020F0302020204030204"/>
                <a:ea typeface="+mn-ea"/>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 </a:t>
              </a:r>
              <a:endParaRPr kumimoji="0" lang="en-US" sz="1600" b="0" i="0" u="none" strike="noStrike" kern="1200" cap="none" spc="0" normalizeH="0" baseline="0" noProof="0" dirty="0">
                <a:ln>
                  <a:noFill/>
                </a:ln>
                <a:solidFill>
                  <a:srgbClr val="272727"/>
                </a:solidFill>
                <a:effectLst/>
                <a:uLnTx/>
                <a:uFillTx/>
                <a:latin typeface="Calibri Light" panose="020F0302020204030204"/>
                <a:ea typeface="+mn-ea"/>
                <a:cs typeface="+mn-cs"/>
              </a:endParaRPr>
            </a:p>
          </p:txBody>
        </p:sp>
      </p:grpSp>
      <p:sp>
        <p:nvSpPr>
          <p:cNvPr id="36" name="TextBox 35">
            <a:extLst>
              <a:ext uri="{FF2B5EF4-FFF2-40B4-BE49-F238E27FC236}">
                <a16:creationId xmlns:a16="http://schemas.microsoft.com/office/drawing/2014/main" id="{078B5968-D118-45A6-895C-D9F1FEC7E23B}"/>
              </a:ext>
            </a:extLst>
          </p:cNvPr>
          <p:cNvSpPr txBox="1"/>
          <p:nvPr/>
        </p:nvSpPr>
        <p:spPr>
          <a:xfrm>
            <a:off x="1864022" y="5253712"/>
            <a:ext cx="476413" cy="707886"/>
          </a:xfrm>
          <a:prstGeom prst="rect">
            <a:avLst/>
          </a:prstGeom>
          <a:noFill/>
        </p:spPr>
        <p:txBody>
          <a:bodyPr wrap="none" rtlCol="0" anchor="ctr">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3</a:t>
            </a:r>
          </a:p>
        </p:txBody>
      </p:sp>
      <p:cxnSp>
        <p:nvCxnSpPr>
          <p:cNvPr id="39" name="Straight Connector 38">
            <a:extLst>
              <a:ext uri="{FF2B5EF4-FFF2-40B4-BE49-F238E27FC236}">
                <a16:creationId xmlns:a16="http://schemas.microsoft.com/office/drawing/2014/main" id="{0D1E0B6E-580B-42EF-B9DB-83C9C65376D2}"/>
              </a:ext>
            </a:extLst>
          </p:cNvPr>
          <p:cNvCxnSpPr/>
          <p:nvPr/>
        </p:nvCxnSpPr>
        <p:spPr>
          <a:xfrm>
            <a:off x="6782506" y="3993581"/>
            <a:ext cx="193249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39F7D08C-0C06-40B3-B202-4AEA90E1C416}"/>
              </a:ext>
            </a:extLst>
          </p:cNvPr>
          <p:cNvSpPr/>
          <p:nvPr/>
        </p:nvSpPr>
        <p:spPr>
          <a:xfrm>
            <a:off x="6908652" y="3076086"/>
            <a:ext cx="463659"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8" name="Rectangle 27">
            <a:extLst>
              <a:ext uri="{FF2B5EF4-FFF2-40B4-BE49-F238E27FC236}">
                <a16:creationId xmlns:a16="http://schemas.microsoft.com/office/drawing/2014/main" id="{E257DE08-AA7C-4031-AC89-FC4BBC0256F7}"/>
              </a:ext>
            </a:extLst>
          </p:cNvPr>
          <p:cNvSpPr/>
          <p:nvPr/>
        </p:nvSpPr>
        <p:spPr>
          <a:xfrm>
            <a:off x="5665232" y="3078888"/>
            <a:ext cx="119847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727"/>
                </a:solidFill>
                <a:effectLst/>
                <a:uLnTx/>
                <a:uFillTx/>
                <a:latin typeface="Calibri Light" panose="020F0302020204030204"/>
                <a:ea typeface="+mn-ea"/>
                <a:cs typeface="+mn-cs"/>
              </a:rPr>
              <a:t>DPP in $</a:t>
            </a:r>
            <a:endParaRPr kumimoji="0" lang="en-US" sz="1200" b="0" i="0" u="none" strike="noStrike" kern="1200" cap="none" spc="0" normalizeH="0" baseline="0" noProof="0" dirty="0">
              <a:ln>
                <a:noFill/>
              </a:ln>
              <a:solidFill>
                <a:srgbClr val="272727"/>
              </a:solidFill>
              <a:effectLst/>
              <a:uLnTx/>
              <a:uFillTx/>
              <a:latin typeface="Calibri Light" panose="020F0302020204030204"/>
              <a:ea typeface="+mn-ea"/>
              <a:cs typeface="+mn-cs"/>
            </a:endParaRPr>
          </a:p>
        </p:txBody>
      </p:sp>
      <p:sp>
        <p:nvSpPr>
          <p:cNvPr id="29" name="Rectangle 28">
            <a:extLst>
              <a:ext uri="{FF2B5EF4-FFF2-40B4-BE49-F238E27FC236}">
                <a16:creationId xmlns:a16="http://schemas.microsoft.com/office/drawing/2014/main" id="{DEFE478C-3CD8-4470-9A24-B666E40F719B}"/>
              </a:ext>
            </a:extLst>
          </p:cNvPr>
          <p:cNvSpPr/>
          <p:nvPr/>
        </p:nvSpPr>
        <p:spPr>
          <a:xfrm>
            <a:off x="7417258" y="3071968"/>
            <a:ext cx="1932496"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Adjusted Gross margin</a:t>
            </a:r>
          </a:p>
        </p:txBody>
      </p:sp>
      <p:sp>
        <p:nvSpPr>
          <p:cNvPr id="31" name="Rectangle 30">
            <a:extLst>
              <a:ext uri="{FF2B5EF4-FFF2-40B4-BE49-F238E27FC236}">
                <a16:creationId xmlns:a16="http://schemas.microsoft.com/office/drawing/2014/main" id="{4E55827E-65A4-4CD7-B9FD-ED29AF5F8BEB}"/>
              </a:ext>
            </a:extLst>
          </p:cNvPr>
          <p:cNvSpPr/>
          <p:nvPr/>
        </p:nvSpPr>
        <p:spPr>
          <a:xfrm>
            <a:off x="9903307" y="3065046"/>
            <a:ext cx="1864311"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Direct product costs</a:t>
            </a:r>
          </a:p>
        </p:txBody>
      </p:sp>
      <p:sp>
        <p:nvSpPr>
          <p:cNvPr id="37" name="TextBox 36">
            <a:extLst>
              <a:ext uri="{FF2B5EF4-FFF2-40B4-BE49-F238E27FC236}">
                <a16:creationId xmlns:a16="http://schemas.microsoft.com/office/drawing/2014/main" id="{D8A8651C-58E8-4BAD-BAFF-E0D25E28743C}"/>
              </a:ext>
            </a:extLst>
          </p:cNvPr>
          <p:cNvSpPr txBox="1"/>
          <p:nvPr/>
        </p:nvSpPr>
        <p:spPr>
          <a:xfrm>
            <a:off x="1072731" y="5829991"/>
            <a:ext cx="201209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Numeric Distribution % = </a:t>
            </a:r>
            <a:endParaRPr kumimoji="0" lang="en-GB" sz="14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3" name="TextBox 32">
            <a:extLst>
              <a:ext uri="{FF2B5EF4-FFF2-40B4-BE49-F238E27FC236}">
                <a16:creationId xmlns:a16="http://schemas.microsoft.com/office/drawing/2014/main" id="{78EB6D58-A378-4621-805D-C65DF45EEDFC}"/>
              </a:ext>
            </a:extLst>
          </p:cNvPr>
          <p:cNvSpPr txBox="1"/>
          <p:nvPr/>
        </p:nvSpPr>
        <p:spPr>
          <a:xfrm>
            <a:off x="6316167" y="5503793"/>
            <a:ext cx="201209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Light" panose="020F0302020204030204"/>
                <a:ea typeface="+mn-ea"/>
                <a:cs typeface="+mn-cs"/>
              </a:rPr>
              <a:t>DPP in $ = </a:t>
            </a:r>
            <a:endPar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BE55E22E-5D27-42C8-BA65-26AEE42FADD3}"/>
              </a:ext>
            </a:extLst>
          </p:cNvPr>
          <p:cNvSpPr txBox="1"/>
          <p:nvPr/>
        </p:nvSpPr>
        <p:spPr>
          <a:xfrm>
            <a:off x="7378968" y="5503793"/>
            <a:ext cx="352454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Calibri" panose="020F0502020204030204"/>
                <a:ea typeface="+mn-ea"/>
                <a:cs typeface="+mn-cs"/>
              </a:rPr>
              <a:t>Adjusted Gross margin – Direct product cos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EA6A95BA-18DC-48E5-BF2A-54BAE919607C}"/>
              </a:ext>
            </a:extLst>
          </p:cNvPr>
          <p:cNvSpPr/>
          <p:nvPr/>
        </p:nvSpPr>
        <p:spPr>
          <a:xfrm>
            <a:off x="9394701" y="3070009"/>
            <a:ext cx="463659"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7" name="TextBox 26">
            <a:extLst>
              <a:ext uri="{FF2B5EF4-FFF2-40B4-BE49-F238E27FC236}">
                <a16:creationId xmlns:a16="http://schemas.microsoft.com/office/drawing/2014/main" id="{4677F9DD-FB08-BF21-B6C7-016A968AC130}"/>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0" name="TextBox 29">
            <a:extLst>
              <a:ext uri="{FF2B5EF4-FFF2-40B4-BE49-F238E27FC236}">
                <a16:creationId xmlns:a16="http://schemas.microsoft.com/office/drawing/2014/main" id="{239F2488-1B81-D6ED-48AE-CD59057363E7}"/>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33303817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91816" y="2049010"/>
            <a:ext cx="4697771" cy="1865126"/>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Lato Light" panose="020F0502020204030203" pitchFamily="34" charset="0"/>
                <a:ea typeface="Lato Light" panose="020F0502020204030203" pitchFamily="34" charset="0"/>
                <a:cs typeface="Lato Light" panose="020F0502020204030203" pitchFamily="34" charset="0"/>
              </a:rPr>
              <a:t>Once you establish baseline sales , you will be able to evaluate incremental sales coming from marketing activities.</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Lato Light" panose="020F0502020204030203" pitchFamily="34" charset="0"/>
                <a:ea typeface="Lato Light" panose="020F0502020204030203" pitchFamily="34" charset="0"/>
                <a:cs typeface="Lato Light" panose="020F0502020204030203" pitchFamily="34" charset="0"/>
              </a:rPr>
              <a:t>Baseline sales helps isolate sales from the influences of Seasonality and competitive promotions </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344042"/>
            <a:ext cx="4187321" cy="892552"/>
            <a:chOff x="327632" y="871503"/>
            <a:chExt cx="3847833" cy="892552"/>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2" y="871503"/>
              <a:ext cx="3074122" cy="892552"/>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Total Sales   </a:t>
              </a:r>
              <a:endParaRPr kumimoji="0" lang="en-US" sz="1600" b="0" i="0" u="none" strike="noStrike" kern="1200" cap="none" spc="0" normalizeH="0" baseline="0" noProof="0" dirty="0">
                <a:ln>
                  <a:noFill/>
                </a:ln>
                <a:solidFill>
                  <a:srgbClr val="272727"/>
                </a:solidFill>
                <a:effectLst/>
                <a:uLnTx/>
                <a:uFillTx/>
                <a:latin typeface="Calibri Light" panose="020F0302020204030204"/>
                <a:ea typeface="+mn-ea"/>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 </a:t>
              </a:r>
              <a:endParaRPr kumimoji="0" lang="en-US" sz="1600" b="0" i="0" u="none" strike="noStrike" kern="1200" cap="none" spc="0" normalizeH="0" baseline="0" noProof="0" dirty="0">
                <a:ln>
                  <a:noFill/>
                </a:ln>
                <a:solidFill>
                  <a:srgbClr val="272727"/>
                </a:solidFill>
                <a:effectLst/>
                <a:uLnTx/>
                <a:uFillTx/>
                <a:latin typeface="Calibri Light" panose="020F0302020204030204"/>
                <a:ea typeface="+mn-ea"/>
                <a:cs typeface="+mn-cs"/>
              </a:endParaRPr>
            </a:p>
          </p:txBody>
        </p:sp>
      </p:grpSp>
      <p:sp>
        <p:nvSpPr>
          <p:cNvPr id="36" name="TextBox 35">
            <a:extLst>
              <a:ext uri="{FF2B5EF4-FFF2-40B4-BE49-F238E27FC236}">
                <a16:creationId xmlns:a16="http://schemas.microsoft.com/office/drawing/2014/main" id="{078B5968-D118-45A6-895C-D9F1FEC7E23B}"/>
              </a:ext>
            </a:extLst>
          </p:cNvPr>
          <p:cNvSpPr txBox="1"/>
          <p:nvPr/>
        </p:nvSpPr>
        <p:spPr>
          <a:xfrm>
            <a:off x="1864022" y="5253712"/>
            <a:ext cx="476413" cy="707886"/>
          </a:xfrm>
          <a:prstGeom prst="rect">
            <a:avLst/>
          </a:prstGeom>
          <a:noFill/>
        </p:spPr>
        <p:txBody>
          <a:bodyPr wrap="none" rtlCol="0" anchor="ctr">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3</a:t>
            </a:r>
          </a:p>
        </p:txBody>
      </p:sp>
      <p:cxnSp>
        <p:nvCxnSpPr>
          <p:cNvPr id="39" name="Straight Connector 38">
            <a:extLst>
              <a:ext uri="{FF2B5EF4-FFF2-40B4-BE49-F238E27FC236}">
                <a16:creationId xmlns:a16="http://schemas.microsoft.com/office/drawing/2014/main" id="{0D1E0B6E-580B-42EF-B9DB-83C9C65376D2}"/>
              </a:ext>
            </a:extLst>
          </p:cNvPr>
          <p:cNvCxnSpPr/>
          <p:nvPr/>
        </p:nvCxnSpPr>
        <p:spPr>
          <a:xfrm>
            <a:off x="6409644" y="3993581"/>
            <a:ext cx="193249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39F7D08C-0C06-40B3-B202-4AEA90E1C416}"/>
              </a:ext>
            </a:extLst>
          </p:cNvPr>
          <p:cNvSpPr/>
          <p:nvPr/>
        </p:nvSpPr>
        <p:spPr>
          <a:xfrm>
            <a:off x="6535790" y="3076086"/>
            <a:ext cx="463659"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8" name="Rectangle 27">
            <a:extLst>
              <a:ext uri="{FF2B5EF4-FFF2-40B4-BE49-F238E27FC236}">
                <a16:creationId xmlns:a16="http://schemas.microsoft.com/office/drawing/2014/main" id="{E257DE08-AA7C-4031-AC89-FC4BBC0256F7}"/>
              </a:ext>
            </a:extLst>
          </p:cNvPr>
          <p:cNvSpPr/>
          <p:nvPr/>
        </p:nvSpPr>
        <p:spPr>
          <a:xfrm>
            <a:off x="5292370" y="3078888"/>
            <a:ext cx="119847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72727"/>
                </a:solidFill>
                <a:effectLst/>
                <a:uLnTx/>
                <a:uFillTx/>
                <a:latin typeface="Calibri Light" panose="020F0302020204030204"/>
                <a:ea typeface="+mn-ea"/>
                <a:cs typeface="+mn-cs"/>
              </a:rPr>
              <a:t>DPP in $</a:t>
            </a:r>
            <a:endParaRPr kumimoji="0" lang="en-US" sz="1200" b="0" i="0" u="none" strike="noStrike" kern="1200" cap="none" spc="0" normalizeH="0" baseline="0" noProof="0" dirty="0">
              <a:ln>
                <a:noFill/>
              </a:ln>
              <a:solidFill>
                <a:srgbClr val="272727"/>
              </a:solidFill>
              <a:effectLst/>
              <a:uLnTx/>
              <a:uFillTx/>
              <a:latin typeface="Calibri Light" panose="020F0302020204030204"/>
              <a:ea typeface="+mn-ea"/>
              <a:cs typeface="+mn-cs"/>
            </a:endParaRPr>
          </a:p>
        </p:txBody>
      </p:sp>
      <p:sp>
        <p:nvSpPr>
          <p:cNvPr id="29" name="Rectangle 28">
            <a:extLst>
              <a:ext uri="{FF2B5EF4-FFF2-40B4-BE49-F238E27FC236}">
                <a16:creationId xmlns:a16="http://schemas.microsoft.com/office/drawing/2014/main" id="{DEFE478C-3CD8-4470-9A24-B666E40F719B}"/>
              </a:ext>
            </a:extLst>
          </p:cNvPr>
          <p:cNvSpPr/>
          <p:nvPr/>
        </p:nvSpPr>
        <p:spPr>
          <a:xfrm>
            <a:off x="7044396" y="3071968"/>
            <a:ext cx="1932496"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Baseline sales</a:t>
            </a:r>
          </a:p>
        </p:txBody>
      </p:sp>
      <p:sp>
        <p:nvSpPr>
          <p:cNvPr id="31" name="Rectangle 30">
            <a:extLst>
              <a:ext uri="{FF2B5EF4-FFF2-40B4-BE49-F238E27FC236}">
                <a16:creationId xmlns:a16="http://schemas.microsoft.com/office/drawing/2014/main" id="{4E55827E-65A4-4CD7-B9FD-ED29AF5F8BEB}"/>
              </a:ext>
            </a:extLst>
          </p:cNvPr>
          <p:cNvSpPr/>
          <p:nvPr/>
        </p:nvSpPr>
        <p:spPr>
          <a:xfrm>
            <a:off x="9530445" y="3065046"/>
            <a:ext cx="223717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Incremental sales from marketing</a:t>
            </a:r>
          </a:p>
        </p:txBody>
      </p:sp>
      <p:sp>
        <p:nvSpPr>
          <p:cNvPr id="37" name="TextBox 36">
            <a:extLst>
              <a:ext uri="{FF2B5EF4-FFF2-40B4-BE49-F238E27FC236}">
                <a16:creationId xmlns:a16="http://schemas.microsoft.com/office/drawing/2014/main" id="{D8A8651C-58E8-4BAD-BAFF-E0D25E28743C}"/>
              </a:ext>
            </a:extLst>
          </p:cNvPr>
          <p:cNvSpPr txBox="1"/>
          <p:nvPr/>
        </p:nvSpPr>
        <p:spPr>
          <a:xfrm>
            <a:off x="1072731" y="5829991"/>
            <a:ext cx="201209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Numeric Distribution % = </a:t>
            </a:r>
            <a:endParaRPr kumimoji="0" lang="en-GB" sz="14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3" name="TextBox 32">
            <a:extLst>
              <a:ext uri="{FF2B5EF4-FFF2-40B4-BE49-F238E27FC236}">
                <a16:creationId xmlns:a16="http://schemas.microsoft.com/office/drawing/2014/main" id="{78EB6D58-A378-4621-805D-C65DF45EEDFC}"/>
              </a:ext>
            </a:extLst>
          </p:cNvPr>
          <p:cNvSpPr txBox="1"/>
          <p:nvPr/>
        </p:nvSpPr>
        <p:spPr>
          <a:xfrm>
            <a:off x="6316167" y="5503793"/>
            <a:ext cx="201209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Light" panose="020F0302020204030204"/>
                <a:ea typeface="+mn-ea"/>
                <a:cs typeface="+mn-cs"/>
              </a:rPr>
              <a:t>DPP in $ = </a:t>
            </a:r>
            <a:endPar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BE55E22E-5D27-42C8-BA65-26AEE42FADD3}"/>
              </a:ext>
            </a:extLst>
          </p:cNvPr>
          <p:cNvSpPr txBox="1"/>
          <p:nvPr/>
        </p:nvSpPr>
        <p:spPr>
          <a:xfrm>
            <a:off x="7378968" y="5503793"/>
            <a:ext cx="352454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Calibri" panose="020F0502020204030204"/>
                <a:ea typeface="+mn-ea"/>
                <a:cs typeface="+mn-cs"/>
              </a:rPr>
              <a:t>Adjusted Gross margin – Direct product cos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EA6A95BA-18DC-48E5-BF2A-54BAE919607C}"/>
              </a:ext>
            </a:extLst>
          </p:cNvPr>
          <p:cNvSpPr/>
          <p:nvPr/>
        </p:nvSpPr>
        <p:spPr>
          <a:xfrm>
            <a:off x="9021839" y="3070009"/>
            <a:ext cx="463659"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7" name="TextBox 26">
            <a:extLst>
              <a:ext uri="{FF2B5EF4-FFF2-40B4-BE49-F238E27FC236}">
                <a16:creationId xmlns:a16="http://schemas.microsoft.com/office/drawing/2014/main" id="{9370BA04-C3E9-2E23-5D85-284A0BD1622A}"/>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0" name="TextBox 29">
            <a:extLst>
              <a:ext uri="{FF2B5EF4-FFF2-40B4-BE49-F238E27FC236}">
                <a16:creationId xmlns:a16="http://schemas.microsoft.com/office/drawing/2014/main" id="{132E7406-6AD6-B6D2-062A-5D3BEE2C0AA9}"/>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37478729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91816" y="2049010"/>
            <a:ext cx="4697771" cy="1865126"/>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800" b="0"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Open Sans Light"/>
                <a:ea typeface="+mn-ea"/>
                <a:cs typeface="Open Sans Light"/>
              </a:rPr>
              <a:t>Once you establish baseline sales , you will be able to evaluate incremental sales coming from marketing activities.</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000000"/>
                </a:solidFill>
                <a:effectLst/>
                <a:uLnTx/>
                <a:uFillTx/>
                <a:latin typeface="Open Sans Light"/>
                <a:ea typeface="+mn-ea"/>
                <a:cs typeface="Open Sans Light"/>
              </a:rPr>
              <a:t>Baseline sales helps isolate sales from the influences of Seasonality and competitive promotions </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344042"/>
            <a:ext cx="4187321" cy="892552"/>
            <a:chOff x="327632" y="871503"/>
            <a:chExt cx="3847833" cy="892552"/>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2" y="871503"/>
              <a:ext cx="3074122" cy="892552"/>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Incremental sales from marketing </a:t>
              </a:r>
              <a:endParaRPr kumimoji="0" lang="en-US" sz="1600" b="0" i="0" u="none" strike="noStrike" kern="1200" cap="none" spc="0" normalizeH="0" baseline="0" noProof="0" dirty="0">
                <a:ln>
                  <a:noFill/>
                </a:ln>
                <a:solidFill>
                  <a:srgbClr val="272727"/>
                </a:solidFill>
                <a:effectLst/>
                <a:uLnTx/>
                <a:uFillTx/>
                <a:latin typeface="Calibri Light" panose="020F0302020204030204"/>
                <a:ea typeface="+mn-ea"/>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72727"/>
                  </a:solidFill>
                  <a:effectLst/>
                  <a:uLnTx/>
                  <a:uFillTx/>
                  <a:latin typeface="Calibri Light" panose="020F0302020204030204"/>
                  <a:ea typeface="League Spartan" charset="0"/>
                  <a:cs typeface="Poppins" pitchFamily="2" charset="77"/>
                </a:rPr>
                <a:t> </a:t>
              </a:r>
              <a:endParaRPr kumimoji="0" lang="en-US" sz="1600" b="0" i="0" u="none" strike="noStrike" kern="1200" cap="none" spc="0" normalizeH="0" baseline="0" noProof="0" dirty="0">
                <a:ln>
                  <a:noFill/>
                </a:ln>
                <a:solidFill>
                  <a:srgbClr val="272727"/>
                </a:solidFill>
                <a:effectLst/>
                <a:uLnTx/>
                <a:uFillTx/>
                <a:latin typeface="Calibri Light" panose="020F0302020204030204"/>
                <a:ea typeface="+mn-ea"/>
                <a:cs typeface="+mn-cs"/>
              </a:endParaRPr>
            </a:p>
          </p:txBody>
        </p:sp>
      </p:grpSp>
      <p:sp>
        <p:nvSpPr>
          <p:cNvPr id="36" name="TextBox 35">
            <a:extLst>
              <a:ext uri="{FF2B5EF4-FFF2-40B4-BE49-F238E27FC236}">
                <a16:creationId xmlns:a16="http://schemas.microsoft.com/office/drawing/2014/main" id="{078B5968-D118-45A6-895C-D9F1FEC7E23B}"/>
              </a:ext>
            </a:extLst>
          </p:cNvPr>
          <p:cNvSpPr txBox="1"/>
          <p:nvPr/>
        </p:nvSpPr>
        <p:spPr>
          <a:xfrm>
            <a:off x="1864022" y="5253712"/>
            <a:ext cx="476413" cy="707886"/>
          </a:xfrm>
          <a:prstGeom prst="rect">
            <a:avLst/>
          </a:prstGeom>
          <a:noFill/>
        </p:spPr>
        <p:txBody>
          <a:bodyPr wrap="none" rtlCol="0" anchor="ctr">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3</a:t>
            </a:r>
          </a:p>
        </p:txBody>
      </p:sp>
      <p:cxnSp>
        <p:nvCxnSpPr>
          <p:cNvPr id="39" name="Straight Connector 38">
            <a:extLst>
              <a:ext uri="{FF2B5EF4-FFF2-40B4-BE49-F238E27FC236}">
                <a16:creationId xmlns:a16="http://schemas.microsoft.com/office/drawing/2014/main" id="{0D1E0B6E-580B-42EF-B9DB-83C9C65376D2}"/>
              </a:ext>
            </a:extLst>
          </p:cNvPr>
          <p:cNvCxnSpPr/>
          <p:nvPr/>
        </p:nvCxnSpPr>
        <p:spPr>
          <a:xfrm>
            <a:off x="6667663" y="6751604"/>
            <a:ext cx="193249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39F7D08C-0C06-40B3-B202-4AEA90E1C416}"/>
              </a:ext>
            </a:extLst>
          </p:cNvPr>
          <p:cNvSpPr/>
          <p:nvPr/>
        </p:nvSpPr>
        <p:spPr>
          <a:xfrm>
            <a:off x="6034575" y="2605607"/>
            <a:ext cx="463659"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31" name="Rectangle 30">
            <a:extLst>
              <a:ext uri="{FF2B5EF4-FFF2-40B4-BE49-F238E27FC236}">
                <a16:creationId xmlns:a16="http://schemas.microsoft.com/office/drawing/2014/main" id="{4E55827E-65A4-4CD7-B9FD-ED29AF5F8BEB}"/>
              </a:ext>
            </a:extLst>
          </p:cNvPr>
          <p:cNvSpPr/>
          <p:nvPr/>
        </p:nvSpPr>
        <p:spPr>
          <a:xfrm>
            <a:off x="6533747" y="2604867"/>
            <a:ext cx="4132822"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Incremental sales from advertising</a:t>
            </a:r>
          </a:p>
        </p:txBody>
      </p:sp>
      <p:sp>
        <p:nvSpPr>
          <p:cNvPr id="37" name="TextBox 36">
            <a:extLst>
              <a:ext uri="{FF2B5EF4-FFF2-40B4-BE49-F238E27FC236}">
                <a16:creationId xmlns:a16="http://schemas.microsoft.com/office/drawing/2014/main" id="{D8A8651C-58E8-4BAD-BAFF-E0D25E28743C}"/>
              </a:ext>
            </a:extLst>
          </p:cNvPr>
          <p:cNvSpPr txBox="1"/>
          <p:nvPr/>
        </p:nvSpPr>
        <p:spPr>
          <a:xfrm>
            <a:off x="1072731" y="5829991"/>
            <a:ext cx="201209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Numeric Distribution % = </a:t>
            </a:r>
            <a:endParaRPr kumimoji="0" lang="en-GB" sz="14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3" name="TextBox 32">
            <a:extLst>
              <a:ext uri="{FF2B5EF4-FFF2-40B4-BE49-F238E27FC236}">
                <a16:creationId xmlns:a16="http://schemas.microsoft.com/office/drawing/2014/main" id="{78EB6D58-A378-4621-805D-C65DF45EEDFC}"/>
              </a:ext>
            </a:extLst>
          </p:cNvPr>
          <p:cNvSpPr txBox="1"/>
          <p:nvPr/>
        </p:nvSpPr>
        <p:spPr>
          <a:xfrm>
            <a:off x="6316167" y="5503793"/>
            <a:ext cx="201209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Light" panose="020F0302020204030204"/>
                <a:ea typeface="+mn-ea"/>
                <a:cs typeface="+mn-cs"/>
              </a:rPr>
              <a:t>DPP in $ = </a:t>
            </a:r>
            <a:endPar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id="{EA6A95BA-18DC-48E5-BF2A-54BAE919607C}"/>
              </a:ext>
            </a:extLst>
          </p:cNvPr>
          <p:cNvSpPr/>
          <p:nvPr/>
        </p:nvSpPr>
        <p:spPr>
          <a:xfrm>
            <a:off x="6034576" y="3102832"/>
            <a:ext cx="463659"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32" name="Rectangle 31">
            <a:extLst>
              <a:ext uri="{FF2B5EF4-FFF2-40B4-BE49-F238E27FC236}">
                <a16:creationId xmlns:a16="http://schemas.microsoft.com/office/drawing/2014/main" id="{D48C410F-7D25-4B21-B0C5-480B1F7B9CDE}"/>
              </a:ext>
            </a:extLst>
          </p:cNvPr>
          <p:cNvSpPr/>
          <p:nvPr/>
        </p:nvSpPr>
        <p:spPr>
          <a:xfrm>
            <a:off x="6533747" y="3106061"/>
            <a:ext cx="4132822"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Incremental sales form trade promotion </a:t>
            </a:r>
          </a:p>
        </p:txBody>
      </p:sp>
      <p:sp>
        <p:nvSpPr>
          <p:cNvPr id="38" name="Rectangle 37">
            <a:extLst>
              <a:ext uri="{FF2B5EF4-FFF2-40B4-BE49-F238E27FC236}">
                <a16:creationId xmlns:a16="http://schemas.microsoft.com/office/drawing/2014/main" id="{EE7C45F6-A5A2-48FA-96B6-7FB907F97BE4}"/>
              </a:ext>
            </a:extLst>
          </p:cNvPr>
          <p:cNvSpPr/>
          <p:nvPr/>
        </p:nvSpPr>
        <p:spPr>
          <a:xfrm>
            <a:off x="6034576" y="3600797"/>
            <a:ext cx="463659"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40" name="Rectangle 39">
            <a:extLst>
              <a:ext uri="{FF2B5EF4-FFF2-40B4-BE49-F238E27FC236}">
                <a16:creationId xmlns:a16="http://schemas.microsoft.com/office/drawing/2014/main" id="{75AD99B2-8871-4D3B-B8C7-B787F61F2716}"/>
              </a:ext>
            </a:extLst>
          </p:cNvPr>
          <p:cNvSpPr/>
          <p:nvPr/>
        </p:nvSpPr>
        <p:spPr>
          <a:xfrm>
            <a:off x="6533747" y="3604026"/>
            <a:ext cx="4132822"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incremental sale from trade promotion</a:t>
            </a:r>
          </a:p>
        </p:txBody>
      </p:sp>
      <p:sp>
        <p:nvSpPr>
          <p:cNvPr id="41" name="Rectangle 40">
            <a:extLst>
              <a:ext uri="{FF2B5EF4-FFF2-40B4-BE49-F238E27FC236}">
                <a16:creationId xmlns:a16="http://schemas.microsoft.com/office/drawing/2014/main" id="{1965ACBB-BE78-4AB3-B579-3C4EC6C96959}"/>
              </a:ext>
            </a:extLst>
          </p:cNvPr>
          <p:cNvSpPr/>
          <p:nvPr/>
        </p:nvSpPr>
        <p:spPr>
          <a:xfrm>
            <a:off x="6034576" y="4104391"/>
            <a:ext cx="463659"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42" name="Rectangle 41">
            <a:extLst>
              <a:ext uri="{FF2B5EF4-FFF2-40B4-BE49-F238E27FC236}">
                <a16:creationId xmlns:a16="http://schemas.microsoft.com/office/drawing/2014/main" id="{0ACE24D7-9E30-4212-9CA1-8B93B09A7FD7}"/>
              </a:ext>
            </a:extLst>
          </p:cNvPr>
          <p:cNvSpPr/>
          <p:nvPr/>
        </p:nvSpPr>
        <p:spPr>
          <a:xfrm>
            <a:off x="6533747" y="4107620"/>
            <a:ext cx="4132822"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Calibri" panose="020F0502020204030204"/>
                <a:ea typeface="+mn-ea"/>
                <a:cs typeface="+mn-cs"/>
              </a:rPr>
              <a:t>Any other incremental sales</a:t>
            </a:r>
          </a:p>
        </p:txBody>
      </p:sp>
      <p:sp>
        <p:nvSpPr>
          <p:cNvPr id="27" name="TextBox 26">
            <a:extLst>
              <a:ext uri="{FF2B5EF4-FFF2-40B4-BE49-F238E27FC236}">
                <a16:creationId xmlns:a16="http://schemas.microsoft.com/office/drawing/2014/main" id="{6084625C-2FCA-F66F-7DE2-DC7BE5D70AF8}"/>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272727"/>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28" name="TextBox 27">
            <a:extLst>
              <a:ext uri="{FF2B5EF4-FFF2-40B4-BE49-F238E27FC236}">
                <a16:creationId xmlns:a16="http://schemas.microsoft.com/office/drawing/2014/main" id="{A9FF77F8-94F2-9DAE-9AA9-4783F9993789}"/>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28702699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5745050"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393439" y="2917198"/>
            <a:ext cx="4797978" cy="954107"/>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393939"/>
                </a:solidFill>
                <a:effectLst/>
                <a:uLnTx/>
                <a:uFillTx/>
                <a:latin typeface="Lato Light" panose="020F0502020204030203" pitchFamily="34" charset="0"/>
                <a:ea typeface="Lato Light" panose="020F0502020204030203" pitchFamily="34" charset="0"/>
                <a:cs typeface="Lato Light" panose="020F0502020204030203" pitchFamily="34" charset="0"/>
              </a:rPr>
              <a:t>Mark up refers to the value that a player adds to the cost price of a product. The value added is called the mark-up. The mark-up added to the cost price usually equals retail price</a:t>
            </a:r>
            <a:endParaRPr kumimoji="0" lang="en-US" sz="18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2" name="Group 1">
            <a:extLst>
              <a:ext uri="{FF2B5EF4-FFF2-40B4-BE49-F238E27FC236}">
                <a16:creationId xmlns:a16="http://schemas.microsoft.com/office/drawing/2014/main" id="{134A7BA7-6A74-4586-87C1-4C05B0CACADB}"/>
              </a:ext>
            </a:extLst>
          </p:cNvPr>
          <p:cNvGrpSpPr/>
          <p:nvPr/>
        </p:nvGrpSpPr>
        <p:grpSpPr>
          <a:xfrm>
            <a:off x="530594" y="1798808"/>
            <a:ext cx="2982659" cy="769130"/>
            <a:chOff x="327632" y="928571"/>
            <a:chExt cx="2982659"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513301" y="1017398"/>
              <a:ext cx="2796990"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49786" y="1175139"/>
              <a:ext cx="1975153" cy="338554"/>
            </a:xfrm>
            <a:prstGeom prst="rect">
              <a:avLst/>
            </a:prstGeom>
            <a:noFill/>
            <a:ln>
              <a:noFill/>
            </a:ln>
          </p:spPr>
          <p:txBody>
            <a:bodyPr wrap="square"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Mark Up </a:t>
              </a:r>
              <a:endParaRPr kumimoji="0" lang="en-US" sz="16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grpSp>
        <p:nvGrpSpPr>
          <p:cNvPr id="16" name="Group 15">
            <a:extLst>
              <a:ext uri="{FF2B5EF4-FFF2-40B4-BE49-F238E27FC236}">
                <a16:creationId xmlns:a16="http://schemas.microsoft.com/office/drawing/2014/main" id="{87B2C716-142B-499E-98FE-5497C3429767}"/>
              </a:ext>
            </a:extLst>
          </p:cNvPr>
          <p:cNvGrpSpPr/>
          <p:nvPr/>
        </p:nvGrpSpPr>
        <p:grpSpPr>
          <a:xfrm>
            <a:off x="5914671" y="1887636"/>
            <a:ext cx="5285311" cy="591475"/>
            <a:chOff x="5457846" y="1907190"/>
            <a:chExt cx="5781284" cy="591475"/>
          </a:xfrm>
        </p:grpSpPr>
        <p:sp>
          <p:nvSpPr>
            <p:cNvPr id="20" name="Rounded Rectangle 25">
              <a:extLst>
                <a:ext uri="{FF2B5EF4-FFF2-40B4-BE49-F238E27FC236}">
                  <a16:creationId xmlns:a16="http://schemas.microsoft.com/office/drawing/2014/main" id="{1707383D-C491-4EEB-B9DD-D2F9D395F64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1" name="TextBox 20">
              <a:extLst>
                <a:ext uri="{FF2B5EF4-FFF2-40B4-BE49-F238E27FC236}">
                  <a16:creationId xmlns:a16="http://schemas.microsoft.com/office/drawing/2014/main" id="{8B36F199-DFAC-4FDC-B8F8-57FB260081DE}"/>
                </a:ext>
              </a:extLst>
            </p:cNvPr>
            <p:cNvSpPr txBox="1"/>
            <p:nvPr/>
          </p:nvSpPr>
          <p:spPr>
            <a:xfrm>
              <a:off x="5703800" y="1974854"/>
              <a:ext cx="5322266" cy="461665"/>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illustration</a:t>
              </a:r>
            </a:p>
          </p:txBody>
        </p:sp>
      </p:grpSp>
      <p:sp>
        <p:nvSpPr>
          <p:cNvPr id="19" name="Rectangle 18">
            <a:extLst>
              <a:ext uri="{FF2B5EF4-FFF2-40B4-BE49-F238E27FC236}">
                <a16:creationId xmlns:a16="http://schemas.microsoft.com/office/drawing/2014/main" id="{5773D0AC-846B-45C8-AFD0-60AB765F7443}"/>
              </a:ext>
            </a:extLst>
          </p:cNvPr>
          <p:cNvSpPr/>
          <p:nvPr/>
        </p:nvSpPr>
        <p:spPr>
          <a:xfrm>
            <a:off x="7241927" y="3157880"/>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prstClr val="black">
                    <a:lumMod val="50000"/>
                    <a:lumOff val="50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7" name="Rectangle 26">
            <a:extLst>
              <a:ext uri="{FF2B5EF4-FFF2-40B4-BE49-F238E27FC236}">
                <a16:creationId xmlns:a16="http://schemas.microsoft.com/office/drawing/2014/main" id="{F7848B7E-08D0-410A-A21E-5BAA040E25F7}"/>
              </a:ext>
            </a:extLst>
          </p:cNvPr>
          <p:cNvSpPr/>
          <p:nvPr/>
        </p:nvSpPr>
        <p:spPr>
          <a:xfrm>
            <a:off x="5853740" y="3160522"/>
            <a:ext cx="136124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Mark Up % </a:t>
            </a:r>
          </a:p>
        </p:txBody>
      </p:sp>
      <p:sp>
        <p:nvSpPr>
          <p:cNvPr id="28" name="Rectangle 27">
            <a:extLst>
              <a:ext uri="{FF2B5EF4-FFF2-40B4-BE49-F238E27FC236}">
                <a16:creationId xmlns:a16="http://schemas.microsoft.com/office/drawing/2014/main" id="{A77BBAED-4097-4D66-88DC-A0C748AF6E21}"/>
              </a:ext>
            </a:extLst>
          </p:cNvPr>
          <p:cNvSpPr/>
          <p:nvPr/>
        </p:nvSpPr>
        <p:spPr>
          <a:xfrm>
            <a:off x="7868495" y="2929809"/>
            <a:ext cx="1226670"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Selling Price</a:t>
            </a:r>
          </a:p>
        </p:txBody>
      </p:sp>
      <p:sp>
        <p:nvSpPr>
          <p:cNvPr id="25" name="Rectangle 24">
            <a:extLst>
              <a:ext uri="{FF2B5EF4-FFF2-40B4-BE49-F238E27FC236}">
                <a16:creationId xmlns:a16="http://schemas.microsoft.com/office/drawing/2014/main" id="{0B58369A-2147-403A-AABD-64AD182B547E}"/>
              </a:ext>
            </a:extLst>
          </p:cNvPr>
          <p:cNvSpPr/>
          <p:nvPr/>
        </p:nvSpPr>
        <p:spPr>
          <a:xfrm>
            <a:off x="9767837" y="2917198"/>
            <a:ext cx="1100726"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Cost Price </a:t>
            </a:r>
          </a:p>
        </p:txBody>
      </p:sp>
      <p:sp>
        <p:nvSpPr>
          <p:cNvPr id="29" name="Rectangle 28">
            <a:extLst>
              <a:ext uri="{FF2B5EF4-FFF2-40B4-BE49-F238E27FC236}">
                <a16:creationId xmlns:a16="http://schemas.microsoft.com/office/drawing/2014/main" id="{93E97DFC-6DE5-43AC-A522-421C643E7931}"/>
              </a:ext>
            </a:extLst>
          </p:cNvPr>
          <p:cNvSpPr/>
          <p:nvPr/>
        </p:nvSpPr>
        <p:spPr>
          <a:xfrm>
            <a:off x="7868495" y="3413005"/>
            <a:ext cx="3000068"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Cost Price </a:t>
            </a:r>
          </a:p>
        </p:txBody>
      </p:sp>
      <p:sp>
        <p:nvSpPr>
          <p:cNvPr id="30" name="Rectangle 29">
            <a:extLst>
              <a:ext uri="{FF2B5EF4-FFF2-40B4-BE49-F238E27FC236}">
                <a16:creationId xmlns:a16="http://schemas.microsoft.com/office/drawing/2014/main" id="{9994DFCE-D2DE-4E34-A2A1-FDF12923C2B4}"/>
              </a:ext>
            </a:extLst>
          </p:cNvPr>
          <p:cNvSpPr/>
          <p:nvPr/>
        </p:nvSpPr>
        <p:spPr>
          <a:xfrm>
            <a:off x="9128667" y="2926076"/>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black">
                    <a:lumMod val="50000"/>
                    <a:lumOff val="50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31" name="Rectangle 30">
            <a:extLst>
              <a:ext uri="{FF2B5EF4-FFF2-40B4-BE49-F238E27FC236}">
                <a16:creationId xmlns:a16="http://schemas.microsoft.com/office/drawing/2014/main" id="{8FFBF0E6-6677-4387-AA6E-03DD831F45F6}"/>
              </a:ext>
            </a:extLst>
          </p:cNvPr>
          <p:cNvSpPr/>
          <p:nvPr/>
        </p:nvSpPr>
        <p:spPr>
          <a:xfrm>
            <a:off x="10906622" y="3200930"/>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lumMod val="50000"/>
                    <a:lumOff val="50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x</a:t>
            </a:r>
          </a:p>
        </p:txBody>
      </p:sp>
      <p:sp>
        <p:nvSpPr>
          <p:cNvPr id="32" name="Rectangle 31">
            <a:extLst>
              <a:ext uri="{FF2B5EF4-FFF2-40B4-BE49-F238E27FC236}">
                <a16:creationId xmlns:a16="http://schemas.microsoft.com/office/drawing/2014/main" id="{520680D9-6081-46E4-A970-1ED451146631}"/>
              </a:ext>
            </a:extLst>
          </p:cNvPr>
          <p:cNvSpPr/>
          <p:nvPr/>
        </p:nvSpPr>
        <p:spPr>
          <a:xfrm>
            <a:off x="11541235" y="3199786"/>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50000"/>
                    <a:lumOff val="50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100</a:t>
            </a:r>
          </a:p>
        </p:txBody>
      </p:sp>
      <p:sp>
        <p:nvSpPr>
          <p:cNvPr id="33" name="Rectangle 32">
            <a:extLst>
              <a:ext uri="{FF2B5EF4-FFF2-40B4-BE49-F238E27FC236}">
                <a16:creationId xmlns:a16="http://schemas.microsoft.com/office/drawing/2014/main" id="{3FDCAA7F-C5E5-480D-BE28-130134B9A0F9}"/>
              </a:ext>
            </a:extLst>
          </p:cNvPr>
          <p:cNvSpPr/>
          <p:nvPr/>
        </p:nvSpPr>
        <p:spPr>
          <a:xfrm>
            <a:off x="7241927" y="4383130"/>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prstClr val="black">
                    <a:lumMod val="50000"/>
                    <a:lumOff val="50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34" name="Rectangle 33">
            <a:extLst>
              <a:ext uri="{FF2B5EF4-FFF2-40B4-BE49-F238E27FC236}">
                <a16:creationId xmlns:a16="http://schemas.microsoft.com/office/drawing/2014/main" id="{58BE8C32-CBFC-4878-BDF5-B96107255D23}"/>
              </a:ext>
            </a:extLst>
          </p:cNvPr>
          <p:cNvSpPr/>
          <p:nvPr/>
        </p:nvSpPr>
        <p:spPr>
          <a:xfrm>
            <a:off x="5853740" y="4385772"/>
            <a:ext cx="136124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Mark Up %</a:t>
            </a:r>
          </a:p>
        </p:txBody>
      </p:sp>
      <p:sp>
        <p:nvSpPr>
          <p:cNvPr id="35" name="Rectangle 34">
            <a:extLst>
              <a:ext uri="{FF2B5EF4-FFF2-40B4-BE49-F238E27FC236}">
                <a16:creationId xmlns:a16="http://schemas.microsoft.com/office/drawing/2014/main" id="{3B231E62-48DE-4A66-8803-718E687364C5}"/>
              </a:ext>
            </a:extLst>
          </p:cNvPr>
          <p:cNvSpPr/>
          <p:nvPr/>
        </p:nvSpPr>
        <p:spPr>
          <a:xfrm>
            <a:off x="7868495" y="4155059"/>
            <a:ext cx="1226670"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Revenue per unit </a:t>
            </a:r>
          </a:p>
        </p:txBody>
      </p:sp>
      <p:sp>
        <p:nvSpPr>
          <p:cNvPr id="36" name="Rectangle 35">
            <a:extLst>
              <a:ext uri="{FF2B5EF4-FFF2-40B4-BE49-F238E27FC236}">
                <a16:creationId xmlns:a16="http://schemas.microsoft.com/office/drawing/2014/main" id="{4073B80C-AB21-465E-8F64-202B051DE06C}"/>
              </a:ext>
            </a:extLst>
          </p:cNvPr>
          <p:cNvSpPr/>
          <p:nvPr/>
        </p:nvSpPr>
        <p:spPr>
          <a:xfrm>
            <a:off x="9767837" y="4142448"/>
            <a:ext cx="1100726"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COgS per unit </a:t>
            </a:r>
          </a:p>
        </p:txBody>
      </p:sp>
      <p:sp>
        <p:nvSpPr>
          <p:cNvPr id="37" name="Rectangle 36">
            <a:extLst>
              <a:ext uri="{FF2B5EF4-FFF2-40B4-BE49-F238E27FC236}">
                <a16:creationId xmlns:a16="http://schemas.microsoft.com/office/drawing/2014/main" id="{CEE4BA9B-3B2B-48A5-838A-9B001C20C468}"/>
              </a:ext>
            </a:extLst>
          </p:cNvPr>
          <p:cNvSpPr/>
          <p:nvPr/>
        </p:nvSpPr>
        <p:spPr>
          <a:xfrm>
            <a:off x="7868495" y="4638255"/>
            <a:ext cx="3000068"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COgS per unit</a:t>
            </a:r>
          </a:p>
        </p:txBody>
      </p:sp>
      <p:sp>
        <p:nvSpPr>
          <p:cNvPr id="38" name="Rectangle 37">
            <a:extLst>
              <a:ext uri="{FF2B5EF4-FFF2-40B4-BE49-F238E27FC236}">
                <a16:creationId xmlns:a16="http://schemas.microsoft.com/office/drawing/2014/main" id="{3D04DCC6-DDD9-48EC-A531-FE4C1C6A26A8}"/>
              </a:ext>
            </a:extLst>
          </p:cNvPr>
          <p:cNvSpPr/>
          <p:nvPr/>
        </p:nvSpPr>
        <p:spPr>
          <a:xfrm>
            <a:off x="9128667" y="4151326"/>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black">
                    <a:lumMod val="50000"/>
                    <a:lumOff val="50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39" name="Rectangle 38">
            <a:extLst>
              <a:ext uri="{FF2B5EF4-FFF2-40B4-BE49-F238E27FC236}">
                <a16:creationId xmlns:a16="http://schemas.microsoft.com/office/drawing/2014/main" id="{630075E9-B9F4-4954-A25F-FFA25014A318}"/>
              </a:ext>
            </a:extLst>
          </p:cNvPr>
          <p:cNvSpPr/>
          <p:nvPr/>
        </p:nvSpPr>
        <p:spPr>
          <a:xfrm>
            <a:off x="10906622" y="4426180"/>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lumMod val="50000"/>
                    <a:lumOff val="50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x</a:t>
            </a:r>
          </a:p>
        </p:txBody>
      </p:sp>
      <p:sp>
        <p:nvSpPr>
          <p:cNvPr id="40" name="Rectangle 39">
            <a:extLst>
              <a:ext uri="{FF2B5EF4-FFF2-40B4-BE49-F238E27FC236}">
                <a16:creationId xmlns:a16="http://schemas.microsoft.com/office/drawing/2014/main" id="{CFFB8B0E-AF57-4E85-8591-3E769AF14449}"/>
              </a:ext>
            </a:extLst>
          </p:cNvPr>
          <p:cNvSpPr/>
          <p:nvPr/>
        </p:nvSpPr>
        <p:spPr>
          <a:xfrm>
            <a:off x="11541235" y="4425036"/>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50000"/>
                    <a:lumOff val="50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100</a:t>
            </a:r>
          </a:p>
        </p:txBody>
      </p:sp>
      <p:sp>
        <p:nvSpPr>
          <p:cNvPr id="41" name="TextBox 40">
            <a:extLst>
              <a:ext uri="{FF2B5EF4-FFF2-40B4-BE49-F238E27FC236}">
                <a16:creationId xmlns:a16="http://schemas.microsoft.com/office/drawing/2014/main" id="{A303C5CF-4DF3-7A7E-BCDA-E250C192AED6}"/>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42" name="TextBox 41">
            <a:extLst>
              <a:ext uri="{FF2B5EF4-FFF2-40B4-BE49-F238E27FC236}">
                <a16:creationId xmlns:a16="http://schemas.microsoft.com/office/drawing/2014/main" id="{F2F8BA8C-7DDA-F51C-2CC9-71DE2DDEF067}"/>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20581012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F3CD965C-7947-FBBB-C5F0-7806EE3D0488}"/>
              </a:ext>
            </a:extLst>
          </p:cNvPr>
          <p:cNvSpPr txBox="1"/>
          <p:nvPr/>
        </p:nvSpPr>
        <p:spPr>
          <a:xfrm>
            <a:off x="268941" y="207845"/>
            <a:ext cx="9160809" cy="800219"/>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s</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Directional Summary</a:t>
            </a:r>
          </a:p>
        </p:txBody>
      </p:sp>
      <p:pic>
        <p:nvPicPr>
          <p:cNvPr id="25" name="Picture 24" descr="Logo&#10;&#10;Description automatically generated">
            <a:extLst>
              <a:ext uri="{FF2B5EF4-FFF2-40B4-BE49-F238E27FC236}">
                <a16:creationId xmlns:a16="http://schemas.microsoft.com/office/drawing/2014/main" id="{511BC1C6-48F0-F517-3930-796B5AA3FE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26" name="Footer Placeholder 3">
            <a:extLst>
              <a:ext uri="{FF2B5EF4-FFF2-40B4-BE49-F238E27FC236}">
                <a16:creationId xmlns:a16="http://schemas.microsoft.com/office/drawing/2014/main" id="{2F7D630F-B07A-34CE-CF91-F2B318CB81D5}"/>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sp>
        <p:nvSpPr>
          <p:cNvPr id="8" name="TextBox 7">
            <a:extLst>
              <a:ext uri="{FF2B5EF4-FFF2-40B4-BE49-F238E27FC236}">
                <a16:creationId xmlns:a16="http://schemas.microsoft.com/office/drawing/2014/main" id="{1DF92EE4-D980-C071-05F3-C8033AEBB183}"/>
              </a:ext>
            </a:extLst>
          </p:cNvPr>
          <p:cNvSpPr txBox="1"/>
          <p:nvPr/>
        </p:nvSpPr>
        <p:spPr>
          <a:xfrm>
            <a:off x="6898985" y="2786930"/>
            <a:ext cx="5153026" cy="866199"/>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rPr>
              <a:t>Trade Marketing Plans </a:t>
            </a:r>
            <a:r>
              <a:rPr kumimoji="0" lang="en-GB" sz="1200" b="0" i="0" u="none" strike="noStrike" kern="1200" cap="none" spc="0" normalizeH="0" baseline="0" noProof="0" dirty="0">
                <a:ln>
                  <a:noFill/>
                </a:ln>
                <a:solidFill>
                  <a:prstClr val="black"/>
                </a:solidFill>
                <a:effectLst/>
                <a:uLnTx/>
                <a:uFillTx/>
                <a:latin typeface="Lato Light"/>
                <a:ea typeface="Calibri" panose="020F0502020204030204" pitchFamily="34" charset="0"/>
                <a:cs typeface="Latha" panose="020B0604020202020204" pitchFamily="34" charset="0"/>
              </a:rPr>
              <a:t>set the tone for ensuring that the marketing objectives are translated into engaging the customer at the category or in specific events , this is the part where the actual engagement between company , customer , brand and category takes place.</a:t>
            </a:r>
          </a:p>
        </p:txBody>
      </p:sp>
      <p:sp>
        <p:nvSpPr>
          <p:cNvPr id="2" name="Rectangle 1">
            <a:extLst>
              <a:ext uri="{FF2B5EF4-FFF2-40B4-BE49-F238E27FC236}">
                <a16:creationId xmlns:a16="http://schemas.microsoft.com/office/drawing/2014/main" id="{2BFB18C1-3BB9-FEF9-1469-B77296BECE5D}"/>
              </a:ext>
            </a:extLst>
          </p:cNvPr>
          <p:cNvSpPr/>
          <p:nvPr/>
        </p:nvSpPr>
        <p:spPr>
          <a:xfrm>
            <a:off x="0" y="2171700"/>
            <a:ext cx="6877050" cy="2181225"/>
          </a:xfrm>
          <a:prstGeom prst="rect">
            <a:avLst/>
          </a:prstGeom>
          <a:solidFill>
            <a:srgbClr val="3984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Tree>
    <p:extLst>
      <p:ext uri="{BB962C8B-B14F-4D97-AF65-F5344CB8AC3E}">
        <p14:creationId xmlns:p14="http://schemas.microsoft.com/office/powerpoint/2010/main" val="38036992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9521"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263136" y="2718815"/>
            <a:ext cx="4255597" cy="523220"/>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US" sz="14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Green marketing is a practice whereby companies seek to go above and beyond.</a:t>
            </a:r>
          </a:p>
        </p:txBody>
      </p:sp>
      <p:grpSp>
        <p:nvGrpSpPr>
          <p:cNvPr id="2" name="Group 1">
            <a:extLst>
              <a:ext uri="{FF2B5EF4-FFF2-40B4-BE49-F238E27FC236}">
                <a16:creationId xmlns:a16="http://schemas.microsoft.com/office/drawing/2014/main" id="{C1B5F598-7B92-4FBD-8143-A11933E62277}"/>
              </a:ext>
            </a:extLst>
          </p:cNvPr>
          <p:cNvGrpSpPr/>
          <p:nvPr/>
        </p:nvGrpSpPr>
        <p:grpSpPr>
          <a:xfrm>
            <a:off x="467266" y="1533252"/>
            <a:ext cx="2929635" cy="769130"/>
            <a:chOff x="327632" y="928571"/>
            <a:chExt cx="2929635"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2796990"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096762" y="1175139"/>
              <a:ext cx="1430200" cy="338554"/>
            </a:xfrm>
            <a:prstGeom prst="rect">
              <a:avLst/>
            </a:prstGeom>
            <a:noFill/>
            <a:ln>
              <a:noFill/>
            </a:ln>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8204D"/>
                  </a:solidFill>
                  <a:effectLst/>
                  <a:uLnTx/>
                  <a:uFillTx/>
                  <a:latin typeface="Lato Light" panose="020F0502020204030203" pitchFamily="34" charset="0"/>
                  <a:ea typeface="Lato Light" panose="020F0502020204030203" pitchFamily="34" charset="0"/>
                  <a:cs typeface="Lato Light" panose="020F0502020204030203" pitchFamily="34" charset="0"/>
                </a:rPr>
                <a:t>Variable Costs</a:t>
              </a:r>
            </a:p>
          </p:txBody>
        </p:sp>
      </p:grpSp>
      <p:grpSp>
        <p:nvGrpSpPr>
          <p:cNvPr id="43" name="Group 42">
            <a:extLst>
              <a:ext uri="{FF2B5EF4-FFF2-40B4-BE49-F238E27FC236}">
                <a16:creationId xmlns:a16="http://schemas.microsoft.com/office/drawing/2014/main" id="{AD748182-B464-4A4C-8E5E-3B94544E8718}"/>
              </a:ext>
            </a:extLst>
          </p:cNvPr>
          <p:cNvGrpSpPr/>
          <p:nvPr/>
        </p:nvGrpSpPr>
        <p:grpSpPr>
          <a:xfrm>
            <a:off x="5701041" y="1613201"/>
            <a:ext cx="5285311" cy="591475"/>
            <a:chOff x="5457846" y="1907190"/>
            <a:chExt cx="5781284" cy="591475"/>
          </a:xfrm>
        </p:grpSpPr>
        <p:sp>
          <p:nvSpPr>
            <p:cNvPr id="44" name="Rounded Rectangle 25">
              <a:extLst>
                <a:ext uri="{FF2B5EF4-FFF2-40B4-BE49-F238E27FC236}">
                  <a16:creationId xmlns:a16="http://schemas.microsoft.com/office/drawing/2014/main" id="{32D908D4-90A5-41A0-9CBF-D25291529BD9}"/>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45" name="TextBox 44">
              <a:extLst>
                <a:ext uri="{FF2B5EF4-FFF2-40B4-BE49-F238E27FC236}">
                  <a16:creationId xmlns:a16="http://schemas.microsoft.com/office/drawing/2014/main" id="{3739BE7F-7AAB-4E80-91E0-AE1AAA026CD3}"/>
                </a:ext>
              </a:extLst>
            </p:cNvPr>
            <p:cNvSpPr txBox="1"/>
            <p:nvPr/>
          </p:nvSpPr>
          <p:spPr>
            <a:xfrm>
              <a:off x="5703800" y="1974854"/>
              <a:ext cx="5322266" cy="461665"/>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sp>
        <p:nvSpPr>
          <p:cNvPr id="34" name="Rectangle 33">
            <a:extLst>
              <a:ext uri="{FF2B5EF4-FFF2-40B4-BE49-F238E27FC236}">
                <a16:creationId xmlns:a16="http://schemas.microsoft.com/office/drawing/2014/main" id="{204C6C36-B8E9-4150-88C6-8C37FB35CC45}"/>
              </a:ext>
            </a:extLst>
          </p:cNvPr>
          <p:cNvSpPr/>
          <p:nvPr/>
        </p:nvSpPr>
        <p:spPr>
          <a:xfrm>
            <a:off x="7353340" y="2842354"/>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50000"/>
                    <a:lumOff val="50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46" name="Rectangle 45">
            <a:extLst>
              <a:ext uri="{FF2B5EF4-FFF2-40B4-BE49-F238E27FC236}">
                <a16:creationId xmlns:a16="http://schemas.microsoft.com/office/drawing/2014/main" id="{D041E50D-BA4F-4F6B-891B-12F298D5258B}"/>
              </a:ext>
            </a:extLst>
          </p:cNvPr>
          <p:cNvSpPr/>
          <p:nvPr/>
        </p:nvSpPr>
        <p:spPr>
          <a:xfrm>
            <a:off x="5965153" y="2844996"/>
            <a:ext cx="1361243"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Variable Cost </a:t>
            </a:r>
          </a:p>
        </p:txBody>
      </p:sp>
      <p:sp>
        <p:nvSpPr>
          <p:cNvPr id="53" name="Rectangle 52">
            <a:extLst>
              <a:ext uri="{FF2B5EF4-FFF2-40B4-BE49-F238E27FC236}">
                <a16:creationId xmlns:a16="http://schemas.microsoft.com/office/drawing/2014/main" id="{C172A047-5C1B-47BE-9A4F-3B978374EC22}"/>
              </a:ext>
            </a:extLst>
          </p:cNvPr>
          <p:cNvSpPr/>
          <p:nvPr/>
        </p:nvSpPr>
        <p:spPr>
          <a:xfrm>
            <a:off x="7986159" y="2837155"/>
            <a:ext cx="1068006"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Unit Volume (N) </a:t>
            </a:r>
          </a:p>
        </p:txBody>
      </p:sp>
      <p:sp>
        <p:nvSpPr>
          <p:cNvPr id="55" name="Rectangle 54">
            <a:extLst>
              <a:ext uri="{FF2B5EF4-FFF2-40B4-BE49-F238E27FC236}">
                <a16:creationId xmlns:a16="http://schemas.microsoft.com/office/drawing/2014/main" id="{167A3101-C2A1-4700-A79D-3520F9CCAB70}"/>
              </a:ext>
            </a:extLst>
          </p:cNvPr>
          <p:cNvSpPr/>
          <p:nvPr/>
        </p:nvSpPr>
        <p:spPr>
          <a:xfrm>
            <a:off x="9738325" y="2853357"/>
            <a:ext cx="1256108" cy="456139"/>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Variable cost per unit ($)</a:t>
            </a:r>
          </a:p>
        </p:txBody>
      </p:sp>
      <p:sp>
        <p:nvSpPr>
          <p:cNvPr id="56" name="Rectangle 55">
            <a:extLst>
              <a:ext uri="{FF2B5EF4-FFF2-40B4-BE49-F238E27FC236}">
                <a16:creationId xmlns:a16="http://schemas.microsoft.com/office/drawing/2014/main" id="{EC4DCA4E-C1D3-45C8-BAB3-B8EEB0CAC3D7}"/>
              </a:ext>
            </a:extLst>
          </p:cNvPr>
          <p:cNvSpPr/>
          <p:nvPr/>
        </p:nvSpPr>
        <p:spPr>
          <a:xfrm>
            <a:off x="9096196" y="2845792"/>
            <a:ext cx="591220" cy="456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50000"/>
                    <a:lumOff val="50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X</a:t>
            </a:r>
          </a:p>
        </p:txBody>
      </p:sp>
      <p:sp>
        <p:nvSpPr>
          <p:cNvPr id="19" name="TextBox 18">
            <a:extLst>
              <a:ext uri="{FF2B5EF4-FFF2-40B4-BE49-F238E27FC236}">
                <a16:creationId xmlns:a16="http://schemas.microsoft.com/office/drawing/2014/main" id="{EB6FF35A-2E48-3480-2765-E4A4BFF9EF3F}"/>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20" name="TextBox 19">
            <a:extLst>
              <a:ext uri="{FF2B5EF4-FFF2-40B4-BE49-F238E27FC236}">
                <a16:creationId xmlns:a16="http://schemas.microsoft.com/office/drawing/2014/main" id="{D4DF586C-C7F2-3C3C-F26E-87F7E5187D8D}"/>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1557664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94018" y="2523123"/>
            <a:ext cx="4823767" cy="1772793"/>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Marketing As a Percentage of Sales: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The level of marketing spending as a fraction of sales. This figure provides an indication of how heavily a company is marketing.</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The appropriate level for this figure varies among products, strategies, and markets.</a:t>
            </a:r>
          </a:p>
        </p:txBody>
      </p:sp>
      <p:grpSp>
        <p:nvGrpSpPr>
          <p:cNvPr id="2" name="Group 1">
            <a:extLst>
              <a:ext uri="{FF2B5EF4-FFF2-40B4-BE49-F238E27FC236}">
                <a16:creationId xmlns:a16="http://schemas.microsoft.com/office/drawing/2014/main" id="{5AD4D3FB-4570-48F5-80CB-DB171FD8A6DB}"/>
              </a:ext>
            </a:extLst>
          </p:cNvPr>
          <p:cNvGrpSpPr/>
          <p:nvPr/>
        </p:nvGrpSpPr>
        <p:grpSpPr>
          <a:xfrm>
            <a:off x="674094" y="1823555"/>
            <a:ext cx="3170749" cy="769130"/>
            <a:chOff x="327632" y="928571"/>
            <a:chExt cx="3170749"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03810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98255" y="1109078"/>
              <a:ext cx="1661032" cy="338554"/>
            </a:xfrm>
            <a:prstGeom prst="rect">
              <a:avLst/>
            </a:prstGeom>
            <a:noFill/>
            <a:ln>
              <a:noFill/>
            </a:ln>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8204D"/>
                  </a:solidFill>
                  <a:effectLst/>
                  <a:uLnTx/>
                  <a:uFillTx/>
                  <a:latin typeface="Lato Light" panose="020F0502020204030203" pitchFamily="34" charset="0"/>
                  <a:ea typeface="Lato Light" panose="020F0502020204030203" pitchFamily="34" charset="0"/>
                  <a:cs typeface="Lato Light" panose="020F0502020204030203" pitchFamily="34" charset="0"/>
                </a:rPr>
                <a:t>Marketing Costs </a:t>
              </a:r>
            </a:p>
          </p:txBody>
        </p:sp>
      </p:grpSp>
      <p:sp>
        <p:nvSpPr>
          <p:cNvPr id="27" name="Rectangle 26">
            <a:extLst>
              <a:ext uri="{FF2B5EF4-FFF2-40B4-BE49-F238E27FC236}">
                <a16:creationId xmlns:a16="http://schemas.microsoft.com/office/drawing/2014/main" id="{F7848B7E-08D0-410A-A21E-5BAA040E25F7}"/>
              </a:ext>
            </a:extLst>
          </p:cNvPr>
          <p:cNvSpPr/>
          <p:nvPr/>
        </p:nvSpPr>
        <p:spPr>
          <a:xfrm>
            <a:off x="5288324" y="3022770"/>
            <a:ext cx="1778051" cy="40623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Marketing as a % of Sales </a:t>
            </a:r>
          </a:p>
        </p:txBody>
      </p:sp>
      <p:sp>
        <p:nvSpPr>
          <p:cNvPr id="28" name="Rectangle 27">
            <a:extLst>
              <a:ext uri="{FF2B5EF4-FFF2-40B4-BE49-F238E27FC236}">
                <a16:creationId xmlns:a16="http://schemas.microsoft.com/office/drawing/2014/main" id="{A77BBAED-4097-4D66-88DC-A0C748AF6E21}"/>
              </a:ext>
            </a:extLst>
          </p:cNvPr>
          <p:cNvSpPr/>
          <p:nvPr/>
        </p:nvSpPr>
        <p:spPr>
          <a:xfrm>
            <a:off x="7829693" y="2821920"/>
            <a:ext cx="3400148" cy="36610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Marketing Spending $</a:t>
            </a:r>
          </a:p>
        </p:txBody>
      </p:sp>
      <p:sp>
        <p:nvSpPr>
          <p:cNvPr id="25" name="Rectangle 24">
            <a:extLst>
              <a:ext uri="{FF2B5EF4-FFF2-40B4-BE49-F238E27FC236}">
                <a16:creationId xmlns:a16="http://schemas.microsoft.com/office/drawing/2014/main" id="{BC076A34-59CD-415D-8E6F-6984BC1042FD}"/>
              </a:ext>
            </a:extLst>
          </p:cNvPr>
          <p:cNvSpPr/>
          <p:nvPr/>
        </p:nvSpPr>
        <p:spPr>
          <a:xfrm>
            <a:off x="7829693" y="3261461"/>
            <a:ext cx="3400148" cy="36610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Total Revenue in $</a:t>
            </a:r>
          </a:p>
        </p:txBody>
      </p:sp>
      <p:sp>
        <p:nvSpPr>
          <p:cNvPr id="20" name="Rectangle 19">
            <a:extLst>
              <a:ext uri="{FF2B5EF4-FFF2-40B4-BE49-F238E27FC236}">
                <a16:creationId xmlns:a16="http://schemas.microsoft.com/office/drawing/2014/main" id="{8C3D1678-D5A9-4541-BBE1-498CCAA12459}"/>
              </a:ext>
            </a:extLst>
          </p:cNvPr>
          <p:cNvSpPr/>
          <p:nvPr/>
        </p:nvSpPr>
        <p:spPr>
          <a:xfrm>
            <a:off x="7152424" y="3022770"/>
            <a:ext cx="591220" cy="40623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36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grpSp>
        <p:nvGrpSpPr>
          <p:cNvPr id="21" name="Group 20">
            <a:extLst>
              <a:ext uri="{FF2B5EF4-FFF2-40B4-BE49-F238E27FC236}">
                <a16:creationId xmlns:a16="http://schemas.microsoft.com/office/drawing/2014/main" id="{DF2C57B3-CB0E-4735-94C5-A21FAB0D19A4}"/>
              </a:ext>
            </a:extLst>
          </p:cNvPr>
          <p:cNvGrpSpPr/>
          <p:nvPr/>
        </p:nvGrpSpPr>
        <p:grpSpPr>
          <a:xfrm>
            <a:off x="5418699" y="1887636"/>
            <a:ext cx="5781284" cy="591475"/>
            <a:chOff x="5457846" y="1907190"/>
            <a:chExt cx="5781284" cy="591475"/>
          </a:xfrm>
        </p:grpSpPr>
        <p:sp>
          <p:nvSpPr>
            <p:cNvPr id="29" name="Rounded Rectangle 25">
              <a:extLst>
                <a:ext uri="{FF2B5EF4-FFF2-40B4-BE49-F238E27FC236}">
                  <a16:creationId xmlns:a16="http://schemas.microsoft.com/office/drawing/2014/main" id="{CD00FF53-0B18-4C9D-8876-B17E2D7C98A3}"/>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0" name="TextBox 29">
              <a:extLst>
                <a:ext uri="{FF2B5EF4-FFF2-40B4-BE49-F238E27FC236}">
                  <a16:creationId xmlns:a16="http://schemas.microsoft.com/office/drawing/2014/main" id="{0E7D7A3A-57D4-44DB-8678-798D0F2AE659}"/>
                </a:ext>
              </a:extLst>
            </p:cNvPr>
            <p:cNvSpPr txBox="1"/>
            <p:nvPr/>
          </p:nvSpPr>
          <p:spPr>
            <a:xfrm>
              <a:off x="5703800" y="1974854"/>
              <a:ext cx="5322266" cy="461665"/>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sp>
        <p:nvSpPr>
          <p:cNvPr id="19" name="TextBox 18">
            <a:extLst>
              <a:ext uri="{FF2B5EF4-FFF2-40B4-BE49-F238E27FC236}">
                <a16:creationId xmlns:a16="http://schemas.microsoft.com/office/drawing/2014/main" id="{3997EE77-9380-45AC-8F89-91729332D2C0}"/>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1" name="TextBox 30">
            <a:extLst>
              <a:ext uri="{FF2B5EF4-FFF2-40B4-BE49-F238E27FC236}">
                <a16:creationId xmlns:a16="http://schemas.microsoft.com/office/drawing/2014/main" id="{CE0BD706-541F-181A-FC6B-6AB345BC957B}"/>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34700992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355108" y="2523123"/>
            <a:ext cx="4562677" cy="1729704"/>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Contribution gross margin is know as the margin after deducting the cost of goods from nett sales revenue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Mostly referred to as CGM this formula is not to be confused with contribution margin , which is very different .</a:t>
            </a:r>
          </a:p>
        </p:txBody>
      </p:sp>
      <p:grpSp>
        <p:nvGrpSpPr>
          <p:cNvPr id="2" name="Group 1">
            <a:extLst>
              <a:ext uri="{FF2B5EF4-FFF2-40B4-BE49-F238E27FC236}">
                <a16:creationId xmlns:a16="http://schemas.microsoft.com/office/drawing/2014/main" id="{5AD4D3FB-4570-48F5-80CB-DB171FD8A6DB}"/>
              </a:ext>
            </a:extLst>
          </p:cNvPr>
          <p:cNvGrpSpPr/>
          <p:nvPr/>
        </p:nvGrpSpPr>
        <p:grpSpPr>
          <a:xfrm>
            <a:off x="674094" y="1823555"/>
            <a:ext cx="3621341" cy="769130"/>
            <a:chOff x="327632" y="928571"/>
            <a:chExt cx="3621341"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488696"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070128" y="1163893"/>
              <a:ext cx="2263761" cy="307777"/>
            </a:xfrm>
            <a:prstGeom prst="rect">
              <a:avLst/>
            </a:prstGeom>
            <a:noFill/>
            <a:ln>
              <a:noFill/>
            </a:ln>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8204D"/>
                  </a:solidFill>
                  <a:effectLst/>
                  <a:uLnTx/>
                  <a:uFillTx/>
                  <a:latin typeface="Lato Light" panose="020F0502020204030203" pitchFamily="34" charset="0"/>
                  <a:ea typeface="Lato Light" panose="020F0502020204030203" pitchFamily="34" charset="0"/>
                  <a:cs typeface="Lato Light" panose="020F0502020204030203" pitchFamily="34" charset="0"/>
                </a:rPr>
                <a:t>Contribution Gross Margin </a:t>
              </a:r>
            </a:p>
          </p:txBody>
        </p:sp>
      </p:grpSp>
      <p:sp>
        <p:nvSpPr>
          <p:cNvPr id="27" name="Rectangle 26">
            <a:extLst>
              <a:ext uri="{FF2B5EF4-FFF2-40B4-BE49-F238E27FC236}">
                <a16:creationId xmlns:a16="http://schemas.microsoft.com/office/drawing/2014/main" id="{F7848B7E-08D0-410A-A21E-5BAA040E25F7}"/>
              </a:ext>
            </a:extLst>
          </p:cNvPr>
          <p:cNvSpPr/>
          <p:nvPr/>
        </p:nvSpPr>
        <p:spPr>
          <a:xfrm>
            <a:off x="5063982" y="3254738"/>
            <a:ext cx="1778051" cy="403334"/>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Contribution Gross  Margin %  </a:t>
            </a:r>
          </a:p>
        </p:txBody>
      </p:sp>
      <p:sp>
        <p:nvSpPr>
          <p:cNvPr id="28" name="Rectangle 27">
            <a:extLst>
              <a:ext uri="{FF2B5EF4-FFF2-40B4-BE49-F238E27FC236}">
                <a16:creationId xmlns:a16="http://schemas.microsoft.com/office/drawing/2014/main" id="{A77BBAED-4097-4D66-88DC-A0C748AF6E21}"/>
              </a:ext>
            </a:extLst>
          </p:cNvPr>
          <p:cNvSpPr/>
          <p:nvPr/>
        </p:nvSpPr>
        <p:spPr>
          <a:xfrm>
            <a:off x="7528257" y="3013534"/>
            <a:ext cx="1748908" cy="40623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Net Sales </a:t>
            </a:r>
          </a:p>
        </p:txBody>
      </p:sp>
      <p:sp>
        <p:nvSpPr>
          <p:cNvPr id="25" name="Rectangle 24">
            <a:extLst>
              <a:ext uri="{FF2B5EF4-FFF2-40B4-BE49-F238E27FC236}">
                <a16:creationId xmlns:a16="http://schemas.microsoft.com/office/drawing/2014/main" id="{BC076A34-59CD-415D-8E6F-6984BC1042FD}"/>
              </a:ext>
            </a:extLst>
          </p:cNvPr>
          <p:cNvSpPr/>
          <p:nvPr/>
        </p:nvSpPr>
        <p:spPr>
          <a:xfrm>
            <a:off x="9963389" y="3014270"/>
            <a:ext cx="1748908" cy="405494"/>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Cost of Goods </a:t>
            </a:r>
          </a:p>
        </p:txBody>
      </p:sp>
      <p:sp>
        <p:nvSpPr>
          <p:cNvPr id="20" name="Rectangle 19">
            <a:extLst>
              <a:ext uri="{FF2B5EF4-FFF2-40B4-BE49-F238E27FC236}">
                <a16:creationId xmlns:a16="http://schemas.microsoft.com/office/drawing/2014/main" id="{DB231AB0-8D37-4C7A-B20C-8F601212016A}"/>
              </a:ext>
            </a:extLst>
          </p:cNvPr>
          <p:cNvSpPr/>
          <p:nvPr/>
        </p:nvSpPr>
        <p:spPr>
          <a:xfrm>
            <a:off x="6893094" y="3252142"/>
            <a:ext cx="591220" cy="40623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grpSp>
        <p:nvGrpSpPr>
          <p:cNvPr id="21" name="Group 20">
            <a:extLst>
              <a:ext uri="{FF2B5EF4-FFF2-40B4-BE49-F238E27FC236}">
                <a16:creationId xmlns:a16="http://schemas.microsoft.com/office/drawing/2014/main" id="{8887DB18-197F-4DA0-A754-88BB36F81BFF}"/>
              </a:ext>
            </a:extLst>
          </p:cNvPr>
          <p:cNvGrpSpPr/>
          <p:nvPr/>
        </p:nvGrpSpPr>
        <p:grpSpPr>
          <a:xfrm>
            <a:off x="5418699" y="1887636"/>
            <a:ext cx="5781284" cy="591475"/>
            <a:chOff x="5457846" y="1907190"/>
            <a:chExt cx="5781284" cy="591475"/>
          </a:xfrm>
        </p:grpSpPr>
        <p:sp>
          <p:nvSpPr>
            <p:cNvPr id="29" name="Rounded Rectangle 25">
              <a:extLst>
                <a:ext uri="{FF2B5EF4-FFF2-40B4-BE49-F238E27FC236}">
                  <a16:creationId xmlns:a16="http://schemas.microsoft.com/office/drawing/2014/main" id="{C7AD579A-C11E-4FED-B00D-1B2DF70287F8}"/>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0" name="TextBox 29">
              <a:extLst>
                <a:ext uri="{FF2B5EF4-FFF2-40B4-BE49-F238E27FC236}">
                  <a16:creationId xmlns:a16="http://schemas.microsoft.com/office/drawing/2014/main" id="{723C5677-FE08-43EE-9D4D-228380776665}"/>
                </a:ext>
              </a:extLst>
            </p:cNvPr>
            <p:cNvSpPr txBox="1"/>
            <p:nvPr/>
          </p:nvSpPr>
          <p:spPr>
            <a:xfrm>
              <a:off x="5703800" y="2071331"/>
              <a:ext cx="5322266" cy="338554"/>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sp>
        <p:nvSpPr>
          <p:cNvPr id="32" name="Rectangle 31">
            <a:extLst>
              <a:ext uri="{FF2B5EF4-FFF2-40B4-BE49-F238E27FC236}">
                <a16:creationId xmlns:a16="http://schemas.microsoft.com/office/drawing/2014/main" id="{C3C4F32A-ECC6-430C-915D-7E677C608C44}"/>
              </a:ext>
            </a:extLst>
          </p:cNvPr>
          <p:cNvSpPr/>
          <p:nvPr/>
        </p:nvSpPr>
        <p:spPr>
          <a:xfrm>
            <a:off x="9321108" y="3013534"/>
            <a:ext cx="591220" cy="40623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40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33" name="Rectangle 32">
            <a:extLst>
              <a:ext uri="{FF2B5EF4-FFF2-40B4-BE49-F238E27FC236}">
                <a16:creationId xmlns:a16="http://schemas.microsoft.com/office/drawing/2014/main" id="{37618B63-2B28-4975-A1FA-E5283F81DAC0}"/>
              </a:ext>
            </a:extLst>
          </p:cNvPr>
          <p:cNvSpPr/>
          <p:nvPr/>
        </p:nvSpPr>
        <p:spPr>
          <a:xfrm>
            <a:off x="7528257" y="3455257"/>
            <a:ext cx="4184040" cy="40623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Net Sales </a:t>
            </a:r>
          </a:p>
        </p:txBody>
      </p:sp>
      <p:sp>
        <p:nvSpPr>
          <p:cNvPr id="31" name="TextBox 30">
            <a:extLst>
              <a:ext uri="{FF2B5EF4-FFF2-40B4-BE49-F238E27FC236}">
                <a16:creationId xmlns:a16="http://schemas.microsoft.com/office/drawing/2014/main" id="{6A492556-028D-DF88-3102-B367FD3417AE}"/>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4" name="TextBox 33">
            <a:extLst>
              <a:ext uri="{FF2B5EF4-FFF2-40B4-BE49-F238E27FC236}">
                <a16:creationId xmlns:a16="http://schemas.microsoft.com/office/drawing/2014/main" id="{0B6206F5-E6CF-F9A6-5DA4-B164B161CF96}"/>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149571333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94018" y="2523123"/>
            <a:ext cx="4513493" cy="1748171"/>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Cannibalization rates represent an important factor in the assessment of new product strategies.</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Fair share draw constitutes an assumption or expectation that a new product will capture sales (in unit or dollar terms) from existing products in proportion to the market shares of those existing products.</a:t>
            </a:r>
          </a:p>
        </p:txBody>
      </p:sp>
      <p:grpSp>
        <p:nvGrpSpPr>
          <p:cNvPr id="2" name="Group 1">
            <a:extLst>
              <a:ext uri="{FF2B5EF4-FFF2-40B4-BE49-F238E27FC236}">
                <a16:creationId xmlns:a16="http://schemas.microsoft.com/office/drawing/2014/main" id="{5AD4D3FB-4570-48F5-80CB-DB171FD8A6DB}"/>
              </a:ext>
            </a:extLst>
          </p:cNvPr>
          <p:cNvGrpSpPr/>
          <p:nvPr/>
        </p:nvGrpSpPr>
        <p:grpSpPr>
          <a:xfrm>
            <a:off x="211513" y="1734775"/>
            <a:ext cx="4187320"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070128" y="1137259"/>
              <a:ext cx="1803296" cy="307777"/>
            </a:xfrm>
            <a:prstGeom prst="rect">
              <a:avLst/>
            </a:prstGeom>
            <a:noFill/>
            <a:ln>
              <a:noFill/>
            </a:ln>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8204D"/>
                  </a:solidFill>
                  <a:effectLst/>
                  <a:uLnTx/>
                  <a:uFillTx/>
                  <a:latin typeface="Lato Light" panose="020F0502020204030203" pitchFamily="34" charset="0"/>
                  <a:ea typeface="Lato Light" panose="020F0502020204030203" pitchFamily="34" charset="0"/>
                  <a:cs typeface="Lato Light" panose="020F0502020204030203" pitchFamily="34" charset="0"/>
                </a:rPr>
                <a:t>Cannibalization Rate % </a:t>
              </a:r>
            </a:p>
          </p:txBody>
        </p:sp>
      </p:grpSp>
      <p:sp>
        <p:nvSpPr>
          <p:cNvPr id="27" name="Rectangle 26">
            <a:extLst>
              <a:ext uri="{FF2B5EF4-FFF2-40B4-BE49-F238E27FC236}">
                <a16:creationId xmlns:a16="http://schemas.microsoft.com/office/drawing/2014/main" id="{F7848B7E-08D0-410A-A21E-5BAA040E25F7}"/>
              </a:ext>
            </a:extLst>
          </p:cNvPr>
          <p:cNvSpPr/>
          <p:nvPr/>
        </p:nvSpPr>
        <p:spPr>
          <a:xfrm>
            <a:off x="5151269" y="2800269"/>
            <a:ext cx="1778051" cy="40623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Cannibalization Rate %</a:t>
            </a:r>
          </a:p>
        </p:txBody>
      </p:sp>
      <p:sp>
        <p:nvSpPr>
          <p:cNvPr id="28" name="Rectangle 27">
            <a:extLst>
              <a:ext uri="{FF2B5EF4-FFF2-40B4-BE49-F238E27FC236}">
                <a16:creationId xmlns:a16="http://schemas.microsoft.com/office/drawing/2014/main" id="{A77BBAED-4097-4D66-88DC-A0C748AF6E21}"/>
              </a:ext>
            </a:extLst>
          </p:cNvPr>
          <p:cNvSpPr/>
          <p:nvPr/>
        </p:nvSpPr>
        <p:spPr>
          <a:xfrm>
            <a:off x="7673212" y="2617216"/>
            <a:ext cx="4205112" cy="36610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Sales lost from existing products in $</a:t>
            </a:r>
          </a:p>
        </p:txBody>
      </p:sp>
      <p:sp>
        <p:nvSpPr>
          <p:cNvPr id="25" name="Rectangle 24">
            <a:extLst>
              <a:ext uri="{FF2B5EF4-FFF2-40B4-BE49-F238E27FC236}">
                <a16:creationId xmlns:a16="http://schemas.microsoft.com/office/drawing/2014/main" id="{BC076A34-59CD-415D-8E6F-6984BC1042FD}"/>
              </a:ext>
            </a:extLst>
          </p:cNvPr>
          <p:cNvSpPr/>
          <p:nvPr/>
        </p:nvSpPr>
        <p:spPr>
          <a:xfrm>
            <a:off x="7673212" y="3065113"/>
            <a:ext cx="4205112" cy="36610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Sales of new products in $</a:t>
            </a:r>
          </a:p>
        </p:txBody>
      </p:sp>
      <p:sp>
        <p:nvSpPr>
          <p:cNvPr id="20" name="Rectangle 19">
            <a:extLst>
              <a:ext uri="{FF2B5EF4-FFF2-40B4-BE49-F238E27FC236}">
                <a16:creationId xmlns:a16="http://schemas.microsoft.com/office/drawing/2014/main" id="{32ED541F-0C2D-49EF-BCBE-216B2348254A}"/>
              </a:ext>
            </a:extLst>
          </p:cNvPr>
          <p:cNvSpPr/>
          <p:nvPr/>
        </p:nvSpPr>
        <p:spPr>
          <a:xfrm>
            <a:off x="7005656" y="2801756"/>
            <a:ext cx="591220" cy="40623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36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grpSp>
        <p:nvGrpSpPr>
          <p:cNvPr id="21" name="Group 20">
            <a:extLst>
              <a:ext uri="{FF2B5EF4-FFF2-40B4-BE49-F238E27FC236}">
                <a16:creationId xmlns:a16="http://schemas.microsoft.com/office/drawing/2014/main" id="{F6853C1D-5466-4C89-8893-D95187F42F8C}"/>
              </a:ext>
            </a:extLst>
          </p:cNvPr>
          <p:cNvGrpSpPr/>
          <p:nvPr/>
        </p:nvGrpSpPr>
        <p:grpSpPr>
          <a:xfrm>
            <a:off x="5418699" y="1825490"/>
            <a:ext cx="5781284" cy="591475"/>
            <a:chOff x="5457846" y="1907190"/>
            <a:chExt cx="5781284" cy="591475"/>
          </a:xfrm>
        </p:grpSpPr>
        <p:sp>
          <p:nvSpPr>
            <p:cNvPr id="29" name="Rounded Rectangle 25">
              <a:extLst>
                <a:ext uri="{FF2B5EF4-FFF2-40B4-BE49-F238E27FC236}">
                  <a16:creationId xmlns:a16="http://schemas.microsoft.com/office/drawing/2014/main" id="{89394F79-3847-4ADB-A2D4-016957EDF551}"/>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0" name="TextBox 29">
              <a:extLst>
                <a:ext uri="{FF2B5EF4-FFF2-40B4-BE49-F238E27FC236}">
                  <a16:creationId xmlns:a16="http://schemas.microsoft.com/office/drawing/2014/main" id="{5EE33BAD-F95F-4FCB-BA3B-31B6CAB52FF4}"/>
                </a:ext>
              </a:extLst>
            </p:cNvPr>
            <p:cNvSpPr txBox="1"/>
            <p:nvPr/>
          </p:nvSpPr>
          <p:spPr>
            <a:xfrm>
              <a:off x="5703800" y="1974854"/>
              <a:ext cx="5322266" cy="461665"/>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sp>
        <p:nvSpPr>
          <p:cNvPr id="19" name="TextBox 18">
            <a:extLst>
              <a:ext uri="{FF2B5EF4-FFF2-40B4-BE49-F238E27FC236}">
                <a16:creationId xmlns:a16="http://schemas.microsoft.com/office/drawing/2014/main" id="{64630876-E8C7-B7AB-4E64-0255506E8894}"/>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1" name="TextBox 30">
            <a:extLst>
              <a:ext uri="{FF2B5EF4-FFF2-40B4-BE49-F238E27FC236}">
                <a16:creationId xmlns:a16="http://schemas.microsoft.com/office/drawing/2014/main" id="{1E682601-7669-F462-A3CE-1BE9E2406F76}"/>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37450455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94018" y="2523123"/>
            <a:ext cx="4513493" cy="2677656"/>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The test-drive is the essential metric at the evaluative stage of the purchasing cycle.</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You will need to design a evaluation design to offer the test drive and record it carefully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So for every 1000 who were offered a test drive or coupon how many actually redeemed it or test drive based on your offer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This approach evaluates effectiveness of marketing campaigns and is a leading indicator of future sales.</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907190"/>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1974854"/>
              <a:ext cx="5322266" cy="461665"/>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211513" y="1823555"/>
            <a:ext cx="4187320"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070128" y="1137259"/>
              <a:ext cx="941566" cy="307777"/>
            </a:xfrm>
            <a:prstGeom prst="rect">
              <a:avLst/>
            </a:prstGeom>
            <a:noFill/>
            <a:ln>
              <a:noFill/>
            </a:ln>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8204D"/>
                  </a:solidFill>
                  <a:effectLst/>
                  <a:uLnTx/>
                  <a:uFillTx/>
                  <a:latin typeface="Lato Light" panose="020F0502020204030203" pitchFamily="34" charset="0"/>
                  <a:ea typeface="Lato Light" panose="020F0502020204030203" pitchFamily="34" charset="0"/>
                  <a:cs typeface="Lato Light" panose="020F0502020204030203" pitchFamily="34" charset="0"/>
                </a:rPr>
                <a:t>Test Drive </a:t>
              </a:r>
            </a:p>
          </p:txBody>
        </p:sp>
      </p:grpSp>
      <p:sp>
        <p:nvSpPr>
          <p:cNvPr id="27" name="Rectangle 26">
            <a:extLst>
              <a:ext uri="{FF2B5EF4-FFF2-40B4-BE49-F238E27FC236}">
                <a16:creationId xmlns:a16="http://schemas.microsoft.com/office/drawing/2014/main" id="{F7848B7E-08D0-410A-A21E-5BAA040E25F7}"/>
              </a:ext>
            </a:extLst>
          </p:cNvPr>
          <p:cNvSpPr/>
          <p:nvPr/>
        </p:nvSpPr>
        <p:spPr>
          <a:xfrm>
            <a:off x="5040780" y="2777988"/>
            <a:ext cx="1778051" cy="40623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mn-ea"/>
                <a:cs typeface="+mn-cs"/>
              </a:rPr>
              <a:t>Test Drive </a:t>
            </a:r>
          </a:p>
        </p:txBody>
      </p:sp>
      <p:sp>
        <p:nvSpPr>
          <p:cNvPr id="28" name="Rectangle 27">
            <a:extLst>
              <a:ext uri="{FF2B5EF4-FFF2-40B4-BE49-F238E27FC236}">
                <a16:creationId xmlns:a16="http://schemas.microsoft.com/office/drawing/2014/main" id="{A77BBAED-4097-4D66-88DC-A0C748AF6E21}"/>
              </a:ext>
            </a:extLst>
          </p:cNvPr>
          <p:cNvSpPr/>
          <p:nvPr/>
        </p:nvSpPr>
        <p:spPr>
          <a:xfrm>
            <a:off x="7519386" y="2752218"/>
            <a:ext cx="4467075" cy="43200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Calibri Light" panose="020F0302020204030204"/>
                <a:ea typeface="+mn-ea"/>
                <a:cs typeface="+mn-cs"/>
              </a:rPr>
              <a:t>Customer pretest of a product or service prior to purchase </a:t>
            </a:r>
          </a:p>
        </p:txBody>
      </p:sp>
      <p:sp>
        <p:nvSpPr>
          <p:cNvPr id="21" name="Rectangle 20">
            <a:extLst>
              <a:ext uri="{FF2B5EF4-FFF2-40B4-BE49-F238E27FC236}">
                <a16:creationId xmlns:a16="http://schemas.microsoft.com/office/drawing/2014/main" id="{62424FE9-01D3-42EB-B93A-A6F9B7D6E256}"/>
              </a:ext>
            </a:extLst>
          </p:cNvPr>
          <p:cNvSpPr/>
          <p:nvPr/>
        </p:nvSpPr>
        <p:spPr>
          <a:xfrm>
            <a:off x="6873498" y="2777988"/>
            <a:ext cx="591220" cy="40623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36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19" name="TextBox 18">
            <a:extLst>
              <a:ext uri="{FF2B5EF4-FFF2-40B4-BE49-F238E27FC236}">
                <a16:creationId xmlns:a16="http://schemas.microsoft.com/office/drawing/2014/main" id="{FEB8960B-A6B1-4AAC-EC74-0A5C0E311D4C}"/>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25" name="TextBox 24">
            <a:extLst>
              <a:ext uri="{FF2B5EF4-FFF2-40B4-BE49-F238E27FC236}">
                <a16:creationId xmlns:a16="http://schemas.microsoft.com/office/drawing/2014/main" id="{D421C426-56DC-4BA4-613D-694312E45219}"/>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2844873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773D0AC-846B-45C8-AFD0-60AB765F7443}"/>
              </a:ext>
            </a:extLst>
          </p:cNvPr>
          <p:cNvSpPr/>
          <p:nvPr/>
        </p:nvSpPr>
        <p:spPr>
          <a:xfrm>
            <a:off x="7118931" y="2606699"/>
            <a:ext cx="591220"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36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56660" y="2081413"/>
            <a:ext cx="4697771" cy="3841052"/>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ample </a:t>
            </a:r>
          </a:p>
          <a:p>
            <a:pPr marL="228600" marR="0" lvl="0" indent="-2286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The profit metric needs to be treated carefully as on initial view it could mislead.</a:t>
            </a:r>
          </a:p>
          <a:p>
            <a:pPr marL="228600" marR="0" lvl="0" indent="-2286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Revenues by themself serve little purpose as it is only an indicator an a definitive metric.</a:t>
            </a:r>
          </a:p>
          <a:p>
            <a:pPr marL="228600" marR="0" lvl="0" indent="-2286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Progress is judged by profitability not revenue, more commonly referred to as the bottom line or PBT.</a:t>
            </a:r>
          </a:p>
          <a:p>
            <a:pPr marL="228600" marR="0" lvl="0" indent="-2286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You can have a High revenue top line but the resulting load of expenses can literally erode the bottom line denying increments, rewards and incentives to the employees.</a:t>
            </a:r>
          </a:p>
          <a:p>
            <a:pPr marL="228600" marR="0" lvl="0" indent="-2286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A more balanced way is to look at both revenue line and income and derive the right balance which brings home the income and keeps the shareholders engaged.</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25447"/>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1974854"/>
              <a:ext cx="5322266" cy="461665"/>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401110"/>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070128" y="1137259"/>
              <a:ext cx="557104" cy="307777"/>
            </a:xfrm>
            <a:prstGeom prst="rect">
              <a:avLst/>
            </a:prstGeom>
            <a:noFill/>
            <a:ln>
              <a:noFill/>
            </a:ln>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8204D"/>
                  </a:solidFill>
                  <a:effectLst/>
                  <a:uLnTx/>
                  <a:uFillTx/>
                  <a:latin typeface="Lato Light" panose="020F0502020204030203" pitchFamily="34" charset="0"/>
                  <a:ea typeface="Lato Light" panose="020F0502020204030203" pitchFamily="34" charset="0"/>
                  <a:cs typeface="Lato Light" panose="020F0502020204030203" pitchFamily="34" charset="0"/>
                </a:rPr>
                <a:t>Profit</a:t>
              </a:r>
            </a:p>
          </p:txBody>
        </p:sp>
      </p:grpSp>
      <p:sp>
        <p:nvSpPr>
          <p:cNvPr id="27" name="Rectangle 26">
            <a:extLst>
              <a:ext uri="{FF2B5EF4-FFF2-40B4-BE49-F238E27FC236}">
                <a16:creationId xmlns:a16="http://schemas.microsoft.com/office/drawing/2014/main" id="{F7848B7E-08D0-410A-A21E-5BAA040E25F7}"/>
              </a:ext>
            </a:extLst>
          </p:cNvPr>
          <p:cNvSpPr/>
          <p:nvPr/>
        </p:nvSpPr>
        <p:spPr>
          <a:xfrm>
            <a:off x="5271599" y="2606699"/>
            <a:ext cx="1778051"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Profit </a:t>
            </a:r>
          </a:p>
        </p:txBody>
      </p:sp>
      <p:sp>
        <p:nvSpPr>
          <p:cNvPr id="28" name="Rectangle 27">
            <a:extLst>
              <a:ext uri="{FF2B5EF4-FFF2-40B4-BE49-F238E27FC236}">
                <a16:creationId xmlns:a16="http://schemas.microsoft.com/office/drawing/2014/main" id="{A77BBAED-4097-4D66-88DC-A0C748AF6E21}"/>
              </a:ext>
            </a:extLst>
          </p:cNvPr>
          <p:cNvSpPr/>
          <p:nvPr/>
        </p:nvSpPr>
        <p:spPr>
          <a:xfrm>
            <a:off x="7750205" y="2607563"/>
            <a:ext cx="3906175"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Revenue – Cost </a:t>
            </a:r>
          </a:p>
        </p:txBody>
      </p:sp>
      <p:sp>
        <p:nvSpPr>
          <p:cNvPr id="21" name="TextBox 20">
            <a:extLst>
              <a:ext uri="{FF2B5EF4-FFF2-40B4-BE49-F238E27FC236}">
                <a16:creationId xmlns:a16="http://schemas.microsoft.com/office/drawing/2014/main" id="{8A1E2B8F-3010-408B-E314-474228F30264}"/>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25" name="TextBox 24">
            <a:extLst>
              <a:ext uri="{FF2B5EF4-FFF2-40B4-BE49-F238E27FC236}">
                <a16:creationId xmlns:a16="http://schemas.microsoft.com/office/drawing/2014/main" id="{B845EF91-D5D6-4567-757F-3E773E6EC438}"/>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24456279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56660" y="2081413"/>
            <a:ext cx="4697771" cy="2806922"/>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1"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Price premium is the percentage in excess of the bench mark price established for a similar class of product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Its basically a relative price . 4 Normally used benchmarks are</a:t>
            </a:r>
          </a:p>
          <a:p>
            <a:pPr marL="342900" marR="0" lvl="0" indent="-3429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Price of a specified competitor product</a:t>
            </a:r>
          </a:p>
          <a:p>
            <a:pPr marL="342900" marR="0" lvl="0" indent="-3429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Average price paid </a:t>
            </a:r>
          </a:p>
          <a:p>
            <a:pPr marL="342900" marR="0" lvl="0" indent="-3429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Average price displayed</a:t>
            </a:r>
          </a:p>
          <a:p>
            <a:pPr marL="342900" marR="0" lvl="0" indent="-342900" algn="l" defTabSz="1087636" rtl="0" eaLnBrk="1" fontAlgn="auto" latinLnBrk="0" hangingPunct="1">
              <a:lnSpc>
                <a:spcPct val="100000"/>
              </a:lnSpc>
              <a:spcBef>
                <a:spcPct val="20000"/>
              </a:spcBef>
              <a:spcAft>
                <a:spcPts val="0"/>
              </a:spcAft>
              <a:buClrTx/>
              <a:buSzTx/>
              <a:buFont typeface="+mj-lt"/>
              <a:buAutoNum type="arabicPeriod"/>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Average price charged</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1974854"/>
              <a:ext cx="5322266" cy="461665"/>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54522" y="1393053"/>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070128" y="1137259"/>
              <a:ext cx="1224390" cy="307777"/>
            </a:xfrm>
            <a:prstGeom prst="rect">
              <a:avLst/>
            </a:prstGeom>
            <a:noFill/>
            <a:ln>
              <a:noFill/>
            </a:ln>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8204D"/>
                  </a:solidFill>
                  <a:effectLst/>
                  <a:uLnTx/>
                  <a:uFillTx/>
                  <a:latin typeface="Lato Light" panose="020F0502020204030203" pitchFamily="34" charset="0"/>
                  <a:ea typeface="Lato Light" panose="020F0502020204030203" pitchFamily="34" charset="0"/>
                  <a:cs typeface="Lato Light" panose="020F0502020204030203" pitchFamily="34" charset="0"/>
                </a:rPr>
                <a:t>Price Premium </a:t>
              </a:r>
            </a:p>
          </p:txBody>
        </p:sp>
      </p:grpSp>
      <p:sp>
        <p:nvSpPr>
          <p:cNvPr id="25" name="TextBox 24">
            <a:extLst>
              <a:ext uri="{FF2B5EF4-FFF2-40B4-BE49-F238E27FC236}">
                <a16:creationId xmlns:a16="http://schemas.microsoft.com/office/drawing/2014/main" id="{03BAD03C-9720-4E1D-AC50-07951C4362A2}"/>
              </a:ext>
            </a:extLst>
          </p:cNvPr>
          <p:cNvSpPr txBox="1"/>
          <p:nvPr/>
        </p:nvSpPr>
        <p:spPr>
          <a:xfrm>
            <a:off x="6122612" y="5706143"/>
            <a:ext cx="201209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Light" panose="020F0302020204030204"/>
                <a:ea typeface="+mn-ea"/>
                <a:cs typeface="+mn-cs"/>
              </a:rPr>
              <a:t>Price Premium % = </a:t>
            </a: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0" name="Straight Connector 29">
            <a:extLst>
              <a:ext uri="{FF2B5EF4-FFF2-40B4-BE49-F238E27FC236}">
                <a16:creationId xmlns:a16="http://schemas.microsoft.com/office/drawing/2014/main" id="{3806FDD4-1C9E-49AD-8383-F9ACB1631403}"/>
              </a:ext>
            </a:extLst>
          </p:cNvPr>
          <p:cNvCxnSpPr/>
          <p:nvPr/>
        </p:nvCxnSpPr>
        <p:spPr>
          <a:xfrm>
            <a:off x="7947501" y="5841177"/>
            <a:ext cx="204896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F9115DD-69E2-47BB-9390-2F9833D59BC8}"/>
              </a:ext>
            </a:extLst>
          </p:cNvPr>
          <p:cNvGrpSpPr/>
          <p:nvPr/>
        </p:nvGrpSpPr>
        <p:grpSpPr>
          <a:xfrm>
            <a:off x="5040780" y="2878685"/>
            <a:ext cx="6945681" cy="1245745"/>
            <a:chOff x="5040780" y="2363780"/>
            <a:chExt cx="6945681" cy="1245745"/>
          </a:xfrm>
        </p:grpSpPr>
        <p:sp>
          <p:nvSpPr>
            <p:cNvPr id="19" name="Rectangle 18">
              <a:extLst>
                <a:ext uri="{FF2B5EF4-FFF2-40B4-BE49-F238E27FC236}">
                  <a16:creationId xmlns:a16="http://schemas.microsoft.com/office/drawing/2014/main" id="{5773D0AC-846B-45C8-AFD0-60AB765F7443}"/>
                </a:ext>
              </a:extLst>
            </p:cNvPr>
            <p:cNvSpPr/>
            <p:nvPr/>
          </p:nvSpPr>
          <p:spPr>
            <a:xfrm>
              <a:off x="6888112" y="2808789"/>
              <a:ext cx="591220" cy="320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dirty="0">
                  <a:ln>
                    <a:noFill/>
                  </a:ln>
                  <a:solidFill>
                    <a:prstClr val="black">
                      <a:lumMod val="50000"/>
                      <a:lumOff val="50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7" name="Rectangle 26">
              <a:extLst>
                <a:ext uri="{FF2B5EF4-FFF2-40B4-BE49-F238E27FC236}">
                  <a16:creationId xmlns:a16="http://schemas.microsoft.com/office/drawing/2014/main" id="{F7848B7E-08D0-410A-A21E-5BAA040E25F7}"/>
                </a:ext>
              </a:extLst>
            </p:cNvPr>
            <p:cNvSpPr/>
            <p:nvPr/>
          </p:nvSpPr>
          <p:spPr>
            <a:xfrm>
              <a:off x="5040780" y="2718027"/>
              <a:ext cx="1990333"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Price Premium % </a:t>
              </a:r>
            </a:p>
          </p:txBody>
        </p:sp>
        <p:sp>
          <p:nvSpPr>
            <p:cNvPr id="28" name="Rectangle 27">
              <a:extLst>
                <a:ext uri="{FF2B5EF4-FFF2-40B4-BE49-F238E27FC236}">
                  <a16:creationId xmlns:a16="http://schemas.microsoft.com/office/drawing/2014/main" id="{A77BBAED-4097-4D66-88DC-A0C748AF6E21}"/>
                </a:ext>
              </a:extLst>
            </p:cNvPr>
            <p:cNvSpPr/>
            <p:nvPr/>
          </p:nvSpPr>
          <p:spPr>
            <a:xfrm>
              <a:off x="7519386" y="2363780"/>
              <a:ext cx="4467075"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 Brand A price – Benchmark price ) </a:t>
              </a:r>
            </a:p>
          </p:txBody>
        </p:sp>
        <p:sp>
          <p:nvSpPr>
            <p:cNvPr id="31" name="Rectangle 30">
              <a:extLst>
                <a:ext uri="{FF2B5EF4-FFF2-40B4-BE49-F238E27FC236}">
                  <a16:creationId xmlns:a16="http://schemas.microsoft.com/office/drawing/2014/main" id="{D5D87043-3A14-4974-81B8-1AE9FBE55481}"/>
                </a:ext>
              </a:extLst>
            </p:cNvPr>
            <p:cNvSpPr/>
            <p:nvPr/>
          </p:nvSpPr>
          <p:spPr>
            <a:xfrm>
              <a:off x="7519386" y="3055949"/>
              <a:ext cx="4467075"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 Benchmark price ) </a:t>
              </a:r>
            </a:p>
          </p:txBody>
        </p:sp>
      </p:grpSp>
      <p:sp>
        <p:nvSpPr>
          <p:cNvPr id="21" name="TextBox 20">
            <a:extLst>
              <a:ext uri="{FF2B5EF4-FFF2-40B4-BE49-F238E27FC236}">
                <a16:creationId xmlns:a16="http://schemas.microsoft.com/office/drawing/2014/main" id="{2AC60971-B5A5-7047-F6F7-068ED1C34A4D}"/>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29" name="TextBox 28">
            <a:extLst>
              <a:ext uri="{FF2B5EF4-FFF2-40B4-BE49-F238E27FC236}">
                <a16:creationId xmlns:a16="http://schemas.microsoft.com/office/drawing/2014/main" id="{055825FA-D4C6-D61D-2DFF-D38D3E47368B}"/>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380860860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22452" y="2178255"/>
            <a:ext cx="4697771" cy="1458861"/>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Customer lifetime value is the dollar value of a customer relationship based on the present value of the projected future cash flows from the customer relationship.</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hen margins and retention rates are constant, the following formula can be used to calculate the lifetime value of a customer relationship</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36409"/>
              <a:ext cx="5322266" cy="400110"/>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401110"/>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070128" y="1121871"/>
              <a:ext cx="2149459" cy="338554"/>
            </a:xfrm>
            <a:prstGeom prst="rect">
              <a:avLst/>
            </a:prstGeom>
            <a:noFill/>
            <a:ln>
              <a:noFill/>
            </a:ln>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8204D"/>
                  </a:solidFill>
                  <a:effectLst/>
                  <a:uLnTx/>
                  <a:uFillTx/>
                  <a:latin typeface="Lato Light" panose="020F0502020204030203" pitchFamily="34" charset="0"/>
                  <a:ea typeface="Lato Light" panose="020F0502020204030203" pitchFamily="34" charset="0"/>
                  <a:cs typeface="Lato Light" panose="020F0502020204030203" pitchFamily="34" charset="0"/>
                </a:rPr>
                <a:t>Customer Lifetime Value</a:t>
              </a:r>
            </a:p>
          </p:txBody>
        </p:sp>
      </p:grpSp>
      <p:sp>
        <p:nvSpPr>
          <p:cNvPr id="28" name="Rectangle 27">
            <a:extLst>
              <a:ext uri="{FF2B5EF4-FFF2-40B4-BE49-F238E27FC236}">
                <a16:creationId xmlns:a16="http://schemas.microsoft.com/office/drawing/2014/main" id="{A77BBAED-4097-4D66-88DC-A0C748AF6E21}"/>
              </a:ext>
            </a:extLst>
          </p:cNvPr>
          <p:cNvSpPr/>
          <p:nvPr/>
        </p:nvSpPr>
        <p:spPr>
          <a:xfrm>
            <a:off x="7576989" y="2471092"/>
            <a:ext cx="4168158" cy="54000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Retention rate %</a:t>
            </a:r>
          </a:p>
        </p:txBody>
      </p:sp>
      <p:sp>
        <p:nvSpPr>
          <p:cNvPr id="21" name="TextBox 20">
            <a:extLst>
              <a:ext uri="{FF2B5EF4-FFF2-40B4-BE49-F238E27FC236}">
                <a16:creationId xmlns:a16="http://schemas.microsoft.com/office/drawing/2014/main" id="{51E2B1AD-CDD6-4D06-989B-0813819330B7}"/>
              </a:ext>
            </a:extLst>
          </p:cNvPr>
          <p:cNvSpPr txBox="1"/>
          <p:nvPr/>
        </p:nvSpPr>
        <p:spPr>
          <a:xfrm>
            <a:off x="122452" y="4263560"/>
            <a:ext cx="4558909" cy="1052596"/>
          </a:xfrm>
          <a:prstGeom prst="rect">
            <a:avLst/>
          </a:prstGeom>
          <a:noFill/>
        </p:spPr>
        <p:txBody>
          <a:bodyPr wrap="square">
            <a:spAutoFit/>
          </a:bodyPr>
          <a:lstStyle/>
          <a:p>
            <a:pPr marL="0" marR="0" lvl="0" indent="0" algn="l" defTabSz="1087636" rtl="0" eaLnBrk="1" fontAlgn="auto" latinLnBrk="0" hangingPunct="1">
              <a:lnSpc>
                <a:spcPct val="100000"/>
              </a:lnSpc>
              <a:spcBef>
                <a:spcPct val="20000"/>
              </a:spcBef>
              <a:spcAft>
                <a:spcPts val="0"/>
              </a:spcAft>
              <a:buClrTx/>
              <a:buSzTx/>
              <a:buFontTx/>
              <a:buNone/>
              <a:tabLst/>
              <a:defRPr/>
            </a:pPr>
            <a:r>
              <a:rPr kumimoji="0" lang="en-GB" sz="12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Customer lifetime value (CLV) is an important concept in that it encourages firms to shift their focus from quarterly profits to the long-term health of their customer relationships.</a:t>
            </a:r>
          </a:p>
          <a:p>
            <a:pPr marL="0" marR="0" lvl="0" indent="0" algn="l" defTabSz="1087636" rtl="0" eaLnBrk="1" fontAlgn="auto" latinLnBrk="0" hangingPunct="1">
              <a:lnSpc>
                <a:spcPct val="100000"/>
              </a:lnSpc>
              <a:spcBef>
                <a:spcPct val="20000"/>
              </a:spcBef>
              <a:spcAft>
                <a:spcPts val="0"/>
              </a:spcAft>
              <a:buClrTx/>
              <a:buSzTx/>
              <a:buFontTx/>
              <a:buNone/>
              <a:tabLst/>
              <a:defRPr/>
            </a:pPr>
            <a:r>
              <a:rPr kumimoji="0" lang="en-GB" sz="12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Customer lifetime value is an important number because it represents an upper limit on spending to acquire new customers.</a:t>
            </a:r>
          </a:p>
        </p:txBody>
      </p:sp>
      <p:sp>
        <p:nvSpPr>
          <p:cNvPr id="25" name="TextBox 24">
            <a:extLst>
              <a:ext uri="{FF2B5EF4-FFF2-40B4-BE49-F238E27FC236}">
                <a16:creationId xmlns:a16="http://schemas.microsoft.com/office/drawing/2014/main" id="{4B335398-678C-4A6A-8110-A4D347FCC56C}"/>
              </a:ext>
            </a:extLst>
          </p:cNvPr>
          <p:cNvSpPr txBox="1"/>
          <p:nvPr/>
        </p:nvSpPr>
        <p:spPr>
          <a:xfrm>
            <a:off x="5956147" y="3847807"/>
            <a:ext cx="4558909" cy="1229311"/>
          </a:xfrm>
          <a:prstGeom prst="rect">
            <a:avLst/>
          </a:prstGeom>
          <a:noFill/>
        </p:spPr>
        <p:txBody>
          <a:bodyPr wrap="square">
            <a:spAutoFit/>
          </a:bodyPr>
          <a:lstStyle/>
          <a:p>
            <a:pPr marL="0" marR="0" lvl="0" indent="0" algn="l" defTabSz="1087636" rtl="0" eaLnBrk="1" fontAlgn="auto" latinLnBrk="0" hangingPunct="1">
              <a:lnSpc>
                <a:spcPct val="120000"/>
              </a:lnSpc>
              <a:spcBef>
                <a:spcPct val="20000"/>
              </a:spcBef>
              <a:spcAft>
                <a:spcPts val="0"/>
              </a:spcAft>
              <a:buClrTx/>
              <a:buSzTx/>
              <a:buFontTx/>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The 3 parameters of CLV </a:t>
            </a:r>
          </a:p>
          <a:p>
            <a:pPr marL="342900" marR="0" lvl="0" indent="-342900" algn="l" defTabSz="1087636" rtl="0" eaLnBrk="1" fontAlgn="auto" latinLnBrk="0" hangingPunct="1">
              <a:lnSpc>
                <a:spcPct val="120000"/>
              </a:lnSpc>
              <a:spcBef>
                <a:spcPct val="20000"/>
              </a:spcBef>
              <a:spcAft>
                <a:spcPts val="0"/>
              </a:spcAft>
              <a:buClrTx/>
              <a:buSzTx/>
              <a:buFont typeface="+mj-lt"/>
              <a:buAutoNum type="arabicPeriod"/>
              <a:tabLst/>
              <a:defRPr/>
            </a:pPr>
            <a:r>
              <a:rPr kumimoji="0" lang="en-GB" sz="1400" b="0" i="1"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Constant margin after deducting variable costs</a:t>
            </a:r>
          </a:p>
          <a:p>
            <a:pPr marL="342900" marR="0" lvl="0" indent="-342900" algn="l" defTabSz="1087636" rtl="0" eaLnBrk="1" fontAlgn="auto" latinLnBrk="0" hangingPunct="1">
              <a:lnSpc>
                <a:spcPct val="120000"/>
              </a:lnSpc>
              <a:spcBef>
                <a:spcPct val="20000"/>
              </a:spcBef>
              <a:spcAft>
                <a:spcPts val="0"/>
              </a:spcAft>
              <a:buClrTx/>
              <a:buSzTx/>
              <a:buFont typeface="+mj-lt"/>
              <a:buAutoNum type="arabicPeriod"/>
              <a:tabLst/>
              <a:defRPr/>
            </a:pPr>
            <a:r>
              <a:rPr kumimoji="0" lang="en-GB" sz="1400" b="0" i="1"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Constant retention probability per period </a:t>
            </a:r>
          </a:p>
          <a:p>
            <a:pPr marL="342900" marR="0" lvl="0" indent="-342900" algn="l" defTabSz="1087636" rtl="0" eaLnBrk="1" fontAlgn="auto" latinLnBrk="0" hangingPunct="1">
              <a:lnSpc>
                <a:spcPct val="120000"/>
              </a:lnSpc>
              <a:spcBef>
                <a:spcPct val="20000"/>
              </a:spcBef>
              <a:spcAft>
                <a:spcPts val="0"/>
              </a:spcAft>
              <a:buClrTx/>
              <a:buSzTx/>
              <a:buFont typeface="+mj-lt"/>
              <a:buAutoNum type="arabicPeriod"/>
              <a:tabLst/>
              <a:defRPr/>
            </a:pPr>
            <a:r>
              <a:rPr kumimoji="0" lang="en-GB" sz="1400" b="0" i="1"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Discount rate  </a:t>
            </a:r>
          </a:p>
        </p:txBody>
      </p:sp>
      <p:sp>
        <p:nvSpPr>
          <p:cNvPr id="32" name="TextBox 31">
            <a:extLst>
              <a:ext uri="{FF2B5EF4-FFF2-40B4-BE49-F238E27FC236}">
                <a16:creationId xmlns:a16="http://schemas.microsoft.com/office/drawing/2014/main" id="{17FEA6F8-609C-4C32-B694-D40D91B18BDD}"/>
              </a:ext>
            </a:extLst>
          </p:cNvPr>
          <p:cNvSpPr txBox="1"/>
          <p:nvPr/>
        </p:nvSpPr>
        <p:spPr>
          <a:xfrm>
            <a:off x="8553430" y="5302880"/>
            <a:ext cx="157917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Margin $ X  </a:t>
            </a: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cxnSp>
        <p:nvCxnSpPr>
          <p:cNvPr id="34" name="Straight Connector 33">
            <a:extLst>
              <a:ext uri="{FF2B5EF4-FFF2-40B4-BE49-F238E27FC236}">
                <a16:creationId xmlns:a16="http://schemas.microsoft.com/office/drawing/2014/main" id="{15D4A357-E143-41F2-937A-07112E7F0D62}"/>
              </a:ext>
            </a:extLst>
          </p:cNvPr>
          <p:cNvCxnSpPr>
            <a:cxnSpLocks/>
          </p:cNvCxnSpPr>
          <p:nvPr/>
        </p:nvCxnSpPr>
        <p:spPr>
          <a:xfrm>
            <a:off x="9614123" y="5448423"/>
            <a:ext cx="260108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A01723F2-C2A7-4F85-8443-A63091A67D99}"/>
              </a:ext>
            </a:extLst>
          </p:cNvPr>
          <p:cNvSpPr/>
          <p:nvPr/>
        </p:nvSpPr>
        <p:spPr>
          <a:xfrm>
            <a:off x="5274430" y="2741712"/>
            <a:ext cx="1786538"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Margin $</a:t>
            </a:r>
          </a:p>
        </p:txBody>
      </p:sp>
      <p:sp>
        <p:nvSpPr>
          <p:cNvPr id="36" name="Rectangle 35">
            <a:extLst>
              <a:ext uri="{FF2B5EF4-FFF2-40B4-BE49-F238E27FC236}">
                <a16:creationId xmlns:a16="http://schemas.microsoft.com/office/drawing/2014/main" id="{73E455CD-6332-4125-A858-6BFDEB57F660}"/>
              </a:ext>
            </a:extLst>
          </p:cNvPr>
          <p:cNvSpPr/>
          <p:nvPr/>
        </p:nvSpPr>
        <p:spPr>
          <a:xfrm>
            <a:off x="7576989" y="3062203"/>
            <a:ext cx="4168156" cy="54000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1+ Discount rate % - Retention Rate </a:t>
            </a:r>
          </a:p>
        </p:txBody>
      </p:sp>
      <p:sp>
        <p:nvSpPr>
          <p:cNvPr id="39" name="TextBox 38">
            <a:extLst>
              <a:ext uri="{FF2B5EF4-FFF2-40B4-BE49-F238E27FC236}">
                <a16:creationId xmlns:a16="http://schemas.microsoft.com/office/drawing/2014/main" id="{4E71F9FB-ED60-4DE2-85D1-B24FF45C817C}"/>
              </a:ext>
            </a:extLst>
          </p:cNvPr>
          <p:cNvSpPr txBox="1"/>
          <p:nvPr/>
        </p:nvSpPr>
        <p:spPr>
          <a:xfrm>
            <a:off x="7116480" y="2741092"/>
            <a:ext cx="369480" cy="540000"/>
          </a:xfrm>
          <a:prstGeom prst="rect">
            <a:avLst/>
          </a:prstGeom>
          <a:solidFill>
            <a:srgbClr val="FFFFFF">
              <a:lumMod val="95000"/>
            </a:srgbClr>
          </a:solidFill>
          <a:ln w="12700" cap="flat" cmpd="sng" algn="ctr">
            <a:noFill/>
            <a:prstDash val="solid"/>
            <a:miter lim="800000"/>
          </a:ln>
          <a:effectLst/>
        </p:spPr>
        <p:txBody>
          <a:bodyPr rtlCol="0" anchor="ctr"/>
          <a:lstStyle>
            <a:defPPr>
              <a:defRPr lang="en-US"/>
            </a:defPPr>
            <a:lvl1pPr marR="0" lvl="0" indent="0" algn="ctr" defTabSz="914217" fontAlgn="auto">
              <a:lnSpc>
                <a:spcPct val="100000"/>
              </a:lnSpc>
              <a:spcBef>
                <a:spcPts val="0"/>
              </a:spcBef>
              <a:spcAft>
                <a:spcPts val="0"/>
              </a:spcAft>
              <a:buClrTx/>
              <a:buSzTx/>
              <a:buFontTx/>
              <a:buNone/>
              <a:tabLst/>
              <a:defRPr kumimoji="0" sz="1400" b="0" i="0" u="none" strike="noStrike" cap="none" spc="0" normalizeH="0" baseline="0">
                <a:ln>
                  <a:noFill/>
                </a:ln>
                <a:solidFill>
                  <a:schemeClr val="tx1">
                    <a:lumMod val="95000"/>
                    <a:lumOff val="5000"/>
                  </a:schemeClr>
                </a:solidFill>
                <a:effectLst/>
                <a:uLnTx/>
                <a:uFillTx/>
                <a:latin typeface="Lato Light" panose="020F0502020204030203" pitchFamily="34" charset="0"/>
                <a:ea typeface="Lato Light" panose="020F0502020204030203" pitchFamily="34" charset="0"/>
                <a:cs typeface="Lato Light" panose="020F0502020204030203" pitchFamily="34" charset="0"/>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X</a:t>
            </a:r>
            <a:endParaRPr kumimoji="0" lang="en-GB" sz="16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7" name="TextBox 26">
            <a:extLst>
              <a:ext uri="{FF2B5EF4-FFF2-40B4-BE49-F238E27FC236}">
                <a16:creationId xmlns:a16="http://schemas.microsoft.com/office/drawing/2014/main" id="{42D0F28C-6AFB-FDA4-BDA7-0D655D70C18B}"/>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29" name="TextBox 28">
            <a:extLst>
              <a:ext uri="{FF2B5EF4-FFF2-40B4-BE49-F238E27FC236}">
                <a16:creationId xmlns:a16="http://schemas.microsoft.com/office/drawing/2014/main" id="{301DA1F5-A479-B7FB-44FF-746272B83729}"/>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31064915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56660" y="2081413"/>
            <a:ext cx="4697771" cy="1988237"/>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1"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Once you establish baseline sales , you will be able to evaluate incremental sales coming from marketing activities.</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Baseline sales helps isolate sales from the influences of Seasonality and competitive promotions </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1974854"/>
              <a:ext cx="5322266" cy="461665"/>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401110"/>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3" y="1121871"/>
              <a:ext cx="2981657" cy="338554"/>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Incremental sales from marketing </a:t>
              </a:r>
              <a:endPar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cxnSp>
        <p:nvCxnSpPr>
          <p:cNvPr id="30" name="Straight Connector 29">
            <a:extLst>
              <a:ext uri="{FF2B5EF4-FFF2-40B4-BE49-F238E27FC236}">
                <a16:creationId xmlns:a16="http://schemas.microsoft.com/office/drawing/2014/main" id="{3806FDD4-1C9E-49AD-8383-F9ACB1631403}"/>
              </a:ext>
            </a:extLst>
          </p:cNvPr>
          <p:cNvCxnSpPr/>
          <p:nvPr/>
        </p:nvCxnSpPr>
        <p:spPr>
          <a:xfrm>
            <a:off x="7947501" y="5841177"/>
            <a:ext cx="204896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773D0AC-846B-45C8-AFD0-60AB765F7443}"/>
              </a:ext>
            </a:extLst>
          </p:cNvPr>
          <p:cNvSpPr/>
          <p:nvPr/>
        </p:nvSpPr>
        <p:spPr>
          <a:xfrm>
            <a:off x="6928166" y="3365243"/>
            <a:ext cx="591220" cy="320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dirty="0">
                <a:ln>
                  <a:noFill/>
                </a:ln>
                <a:solidFill>
                  <a:prstClr val="black">
                    <a:lumMod val="50000"/>
                    <a:lumOff val="50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7" name="Rectangle 26">
            <a:extLst>
              <a:ext uri="{FF2B5EF4-FFF2-40B4-BE49-F238E27FC236}">
                <a16:creationId xmlns:a16="http://schemas.microsoft.com/office/drawing/2014/main" id="{F7848B7E-08D0-410A-A21E-5BAA040E25F7}"/>
              </a:ext>
            </a:extLst>
          </p:cNvPr>
          <p:cNvSpPr/>
          <p:nvPr/>
        </p:nvSpPr>
        <p:spPr>
          <a:xfrm>
            <a:off x="5040780" y="3232932"/>
            <a:ext cx="1990333"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Incremental sales from marketing </a:t>
            </a:r>
          </a:p>
        </p:txBody>
      </p:sp>
      <p:sp>
        <p:nvSpPr>
          <p:cNvPr id="28" name="Rectangle 27">
            <a:extLst>
              <a:ext uri="{FF2B5EF4-FFF2-40B4-BE49-F238E27FC236}">
                <a16:creationId xmlns:a16="http://schemas.microsoft.com/office/drawing/2014/main" id="{A77BBAED-4097-4D66-88DC-A0C748AF6E21}"/>
              </a:ext>
            </a:extLst>
          </p:cNvPr>
          <p:cNvSpPr/>
          <p:nvPr/>
        </p:nvSpPr>
        <p:spPr>
          <a:xfrm>
            <a:off x="7519386" y="2878685"/>
            <a:ext cx="4467075" cy="124510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 Incremental sales from advertis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 incremental sale from trade promo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 Any other incremental sales </a:t>
            </a:r>
            <a:endPar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1" name="TextBox 20">
            <a:extLst>
              <a:ext uri="{FF2B5EF4-FFF2-40B4-BE49-F238E27FC236}">
                <a16:creationId xmlns:a16="http://schemas.microsoft.com/office/drawing/2014/main" id="{093AD4BA-05F0-2A51-9D09-3C9F19D28F79}"/>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25" name="TextBox 24">
            <a:extLst>
              <a:ext uri="{FF2B5EF4-FFF2-40B4-BE49-F238E27FC236}">
                <a16:creationId xmlns:a16="http://schemas.microsoft.com/office/drawing/2014/main" id="{3A8A4859-53CE-9283-EAC1-56C7D8ADA5DF}"/>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387182169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56660" y="2081413"/>
            <a:ext cx="4697771" cy="4185761"/>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1"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282828"/>
                </a:solidFill>
                <a:effectLst/>
                <a:uLnTx/>
                <a:uFillTx/>
                <a:latin typeface="Lato Light" panose="020F0502020204030203" pitchFamily="34" charset="0"/>
                <a:ea typeface="Lato Light" panose="020F0502020204030203" pitchFamily="34" charset="0"/>
                <a:cs typeface="Lato Light" panose="020F0502020204030203" pitchFamily="34" charset="0"/>
              </a:rPr>
              <a:t>Deciding what to spend on.</a:t>
            </a:r>
            <a:r>
              <a:rPr kumimoji="0" lang="en-GB" sz="1400" b="0" i="0" u="none" strike="noStrike" kern="1200" cap="none" spc="0" normalizeH="0" baseline="0" noProof="0" dirty="0">
                <a:ln>
                  <a:noFill/>
                </a:ln>
                <a:solidFill>
                  <a:srgbClr val="282828"/>
                </a:solidFill>
                <a:effectLst/>
                <a:uLnTx/>
                <a:uFillTx/>
                <a:latin typeface="Lato Light" panose="020F0502020204030203" pitchFamily="34" charset="0"/>
                <a:ea typeface="Lato Light" panose="020F0502020204030203" pitchFamily="34" charset="0"/>
                <a:cs typeface="Lato Light" panose="020F0502020204030203" pitchFamily="34" charset="0"/>
              </a:rPr>
              <a:t> MROI is most often calculated at the program or campaign level so that marketers know which efforts have a higher return and therefore warrant further investment. It also informs future spending levels, allocation of the budget across programs and media, and which messages a marketer chooses.</a:t>
            </a:r>
          </a:p>
          <a:p>
            <a:pPr marL="0" marR="0" lvl="0" indent="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282828"/>
                </a:solidFill>
                <a:effectLst/>
                <a:uLnTx/>
                <a:uFillTx/>
                <a:latin typeface="Lato Light" panose="020F0502020204030203" pitchFamily="34" charset="0"/>
                <a:ea typeface="Lato Light" panose="020F0502020204030203" pitchFamily="34" charset="0"/>
                <a:cs typeface="Lato Light" panose="020F0502020204030203" pitchFamily="34" charset="0"/>
              </a:rPr>
              <a:t>Comparing marketing efficiency with competitors.</a:t>
            </a:r>
            <a:r>
              <a:rPr kumimoji="0" lang="en-GB" sz="1400" b="0" i="0" u="none" strike="noStrike" kern="1200" cap="none" spc="0" normalizeH="0" baseline="0" noProof="0" dirty="0">
                <a:ln>
                  <a:noFill/>
                </a:ln>
                <a:solidFill>
                  <a:srgbClr val="282828"/>
                </a:solidFill>
                <a:effectLst/>
                <a:uLnTx/>
                <a:uFillTx/>
                <a:latin typeface="Lato Light" panose="020F0502020204030203" pitchFamily="34" charset="0"/>
                <a:ea typeface="Lato Light" panose="020F0502020204030203" pitchFamily="34" charset="0"/>
                <a:cs typeface="Lato Light" panose="020F0502020204030203" pitchFamily="34" charset="0"/>
              </a:rPr>
              <a:t> Track competitors’ MROI to gauge how your company is performing against others in the industry. While MROI is not usually public information, marketing leaders can use published financial statement data to estimate MROI for a competitor.</a:t>
            </a:r>
          </a:p>
          <a:p>
            <a:pPr marL="0" marR="0" lvl="0" indent="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282828"/>
                </a:solidFill>
                <a:effectLst/>
                <a:uLnTx/>
                <a:uFillTx/>
                <a:latin typeface="Lato Light" panose="020F0502020204030203" pitchFamily="34" charset="0"/>
                <a:ea typeface="Lato Light" panose="020F0502020204030203" pitchFamily="34" charset="0"/>
                <a:cs typeface="Lato Light" panose="020F0502020204030203" pitchFamily="34" charset="0"/>
              </a:rPr>
              <a:t>Holding themselves accountable.</a:t>
            </a:r>
            <a:r>
              <a:rPr kumimoji="0" lang="en-GB" sz="1400" b="0" i="0" u="none" strike="noStrike" kern="1200" cap="none" spc="0" normalizeH="0" baseline="0" noProof="0" dirty="0">
                <a:ln>
                  <a:noFill/>
                </a:ln>
                <a:solidFill>
                  <a:srgbClr val="282828"/>
                </a:solidFill>
                <a:effectLst/>
                <a:uLnTx/>
                <a:uFillTx/>
                <a:latin typeface="Lato Light" panose="020F0502020204030203" pitchFamily="34" charset="0"/>
                <a:ea typeface="Lato Light" panose="020F0502020204030203" pitchFamily="34" charset="0"/>
                <a:cs typeface="Lato Light" panose="020F0502020204030203" pitchFamily="34" charset="0"/>
              </a:rPr>
              <a:t> The MROI calculation also prompts individual marketers to think about and justify every dollar before they spend it.</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5041"/>
              <a:ext cx="5322266" cy="369332"/>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472134"/>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01343" y="1148501"/>
              <a:ext cx="2981657" cy="338554"/>
            </a:xfrm>
            <a:prstGeom prst="rect">
              <a:avLst/>
            </a:prstGeom>
            <a:noFill/>
            <a:ln>
              <a:noFill/>
            </a:ln>
          </p:spPr>
          <p:txBody>
            <a:bodyPr wrap="squar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Light" panose="020F0302020204030204"/>
                  <a:ea typeface="League Spartan" charset="0"/>
                  <a:cs typeface="Poppins" pitchFamily="2" charset="77"/>
                </a:rPr>
                <a:t>Marketing ROI</a:t>
              </a:r>
              <a:endParaRPr kumimoji="0" lang="en-US" sz="14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sp>
        <p:nvSpPr>
          <p:cNvPr id="16" name="Rectangle 15">
            <a:extLst>
              <a:ext uri="{FF2B5EF4-FFF2-40B4-BE49-F238E27FC236}">
                <a16:creationId xmlns:a16="http://schemas.microsoft.com/office/drawing/2014/main" id="{B5E53973-4EE1-4F3F-B716-6FC6E67FBA47}"/>
              </a:ext>
            </a:extLst>
          </p:cNvPr>
          <p:cNvSpPr/>
          <p:nvPr/>
        </p:nvSpPr>
        <p:spPr>
          <a:xfrm>
            <a:off x="5065208" y="2872064"/>
            <a:ext cx="1305017"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Light" panose="020F0302020204030204"/>
                <a:ea typeface="League Spartan" charset="0"/>
                <a:cs typeface="Poppins" pitchFamily="2" charset="77"/>
              </a:rPr>
              <a:t>Marketing ROI </a:t>
            </a:r>
            <a:endPar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9" name="Rectangle 18">
            <a:extLst>
              <a:ext uri="{FF2B5EF4-FFF2-40B4-BE49-F238E27FC236}">
                <a16:creationId xmlns:a16="http://schemas.microsoft.com/office/drawing/2014/main" id="{4B55E546-9FEB-496C-AB27-EA343F9C9042}"/>
              </a:ext>
            </a:extLst>
          </p:cNvPr>
          <p:cNvSpPr/>
          <p:nvPr/>
        </p:nvSpPr>
        <p:spPr>
          <a:xfrm>
            <a:off x="7060678" y="2639899"/>
            <a:ext cx="2323019" cy="528044"/>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Incremental financial value gained as a result of marketing investment  cost ($)</a:t>
            </a:r>
            <a:endPar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1" name="Rectangle 20">
            <a:extLst>
              <a:ext uri="{FF2B5EF4-FFF2-40B4-BE49-F238E27FC236}">
                <a16:creationId xmlns:a16="http://schemas.microsoft.com/office/drawing/2014/main" id="{674470CC-00E2-48B3-BC7F-ECCB973DEE91}"/>
              </a:ext>
            </a:extLst>
          </p:cNvPr>
          <p:cNvSpPr/>
          <p:nvPr/>
        </p:nvSpPr>
        <p:spPr>
          <a:xfrm>
            <a:off x="6491903" y="2874334"/>
            <a:ext cx="447097" cy="528044"/>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5" name="Rectangle 24">
            <a:extLst>
              <a:ext uri="{FF2B5EF4-FFF2-40B4-BE49-F238E27FC236}">
                <a16:creationId xmlns:a16="http://schemas.microsoft.com/office/drawing/2014/main" id="{C132DCC4-456B-4ED7-8653-6FAA7B6A1C79}"/>
              </a:ext>
            </a:extLst>
          </p:cNvPr>
          <p:cNvSpPr/>
          <p:nvPr/>
        </p:nvSpPr>
        <p:spPr>
          <a:xfrm>
            <a:off x="7040356" y="3222405"/>
            <a:ext cx="4783580" cy="528044"/>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Cost of the marketing investment </a:t>
            </a:r>
            <a:endPar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7" name="Rectangle 26">
            <a:extLst>
              <a:ext uri="{FF2B5EF4-FFF2-40B4-BE49-F238E27FC236}">
                <a16:creationId xmlns:a16="http://schemas.microsoft.com/office/drawing/2014/main" id="{E9EFBAED-97F5-4E93-BD23-5A8A3D691B3A}"/>
              </a:ext>
            </a:extLst>
          </p:cNvPr>
          <p:cNvSpPr/>
          <p:nvPr/>
        </p:nvSpPr>
        <p:spPr>
          <a:xfrm>
            <a:off x="10033506" y="2639899"/>
            <a:ext cx="1790432" cy="528044"/>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Cost of the marketing investment </a:t>
            </a:r>
            <a:endPar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8" name="Rectangle 27">
            <a:extLst>
              <a:ext uri="{FF2B5EF4-FFF2-40B4-BE49-F238E27FC236}">
                <a16:creationId xmlns:a16="http://schemas.microsoft.com/office/drawing/2014/main" id="{BA70A17F-B4BA-40CE-93BF-338B835B6A65}"/>
              </a:ext>
            </a:extLst>
          </p:cNvPr>
          <p:cNvSpPr/>
          <p:nvPr/>
        </p:nvSpPr>
        <p:spPr>
          <a:xfrm>
            <a:off x="9485053" y="2639899"/>
            <a:ext cx="447097" cy="528044"/>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9" name="TextBox 28">
            <a:extLst>
              <a:ext uri="{FF2B5EF4-FFF2-40B4-BE49-F238E27FC236}">
                <a16:creationId xmlns:a16="http://schemas.microsoft.com/office/drawing/2014/main" id="{430D7B3D-9BD4-F104-71DD-A1315A04B202}"/>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0" name="TextBox 29">
            <a:extLst>
              <a:ext uri="{FF2B5EF4-FFF2-40B4-BE49-F238E27FC236}">
                <a16:creationId xmlns:a16="http://schemas.microsoft.com/office/drawing/2014/main" id="{8760DD3B-247A-D014-2005-0F43F3778484}"/>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12680612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EE9ED35-A711-BA9E-E39A-85F955CBBB5F}"/>
              </a:ext>
            </a:extLst>
          </p:cNvPr>
          <p:cNvSpPr txBox="1"/>
          <p:nvPr/>
        </p:nvSpPr>
        <p:spPr>
          <a:xfrm rot="16200000">
            <a:off x="-2450014" y="2921347"/>
            <a:ext cx="6413314" cy="861774"/>
          </a:xfrm>
          <a:prstGeom prst="rect">
            <a:avLst/>
          </a:prstGeom>
          <a:solidFill>
            <a:schemeClr val="bg1"/>
          </a:solidFill>
          <a:ln>
            <a:noFill/>
          </a:ln>
        </p:spPr>
        <p:txBody>
          <a:bodyPr wrap="square" rtlCol="0">
            <a:spAutoFit/>
          </a:bodyPr>
          <a:lstStyle/>
          <a:p>
            <a:pPr defTabSz="435356">
              <a:defRPr/>
            </a:pPr>
            <a:r>
              <a:rPr lang="en-GB" sz="3200" b="1" dirty="0">
                <a:solidFill>
                  <a:srgbClr val="2A4A8B"/>
                </a:solidFill>
                <a:latin typeface="Poppins" panose="00000500000000000000" pitchFamily="2" charset="0"/>
                <a:cs typeface="Poppins" panose="00000500000000000000" pitchFamily="2" charset="0"/>
              </a:rPr>
              <a:t>Trade Marketing Plan</a:t>
            </a:r>
            <a:r>
              <a:rPr lang="en-GB" sz="3600" b="1" dirty="0">
                <a:solidFill>
                  <a:srgbClr val="2A4A8B"/>
                </a:solidFill>
                <a:latin typeface="Poppins" panose="00000500000000000000" pitchFamily="2" charset="0"/>
                <a:cs typeface="Poppins" panose="00000500000000000000" pitchFamily="2" charset="0"/>
              </a:rPr>
              <a:t>.</a:t>
            </a:r>
          </a:p>
          <a:p>
            <a:pPr defTabSz="435356">
              <a:defRPr/>
            </a:pPr>
            <a:endParaRPr lang="en-GB" sz="1400" dirty="0">
              <a:effectLst/>
              <a:latin typeface="Poppins" panose="00000500000000000000" pitchFamily="2" charset="0"/>
              <a:ea typeface="Lato Light" panose="020F0502020204030203" pitchFamily="34" charset="0"/>
              <a:cs typeface="Poppins" panose="00000500000000000000" pitchFamily="2" charset="0"/>
            </a:endParaRPr>
          </a:p>
        </p:txBody>
      </p:sp>
      <p:pic>
        <p:nvPicPr>
          <p:cNvPr id="3" name="Picture 2" descr="Logo&#10;&#10;Description automatically generated">
            <a:extLst>
              <a:ext uri="{FF2B5EF4-FFF2-40B4-BE49-F238E27FC236}">
                <a16:creationId xmlns:a16="http://schemas.microsoft.com/office/drawing/2014/main" id="{CB0D4F01-1329-E701-D2CA-21E2F882FE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959F28D7-0474-DDC6-62BB-3F0A163E9213}"/>
              </a:ext>
            </a:extLst>
          </p:cNvPr>
          <p:cNvSpPr>
            <a:spLocks noGrp="1"/>
          </p:cNvSpPr>
          <p:nvPr>
            <p:ph type="ftr" sz="quarter" idx="11"/>
          </p:nvPr>
        </p:nvSpPr>
        <p:spPr>
          <a:xfrm>
            <a:off x="4038600" y="6447356"/>
            <a:ext cx="4114800" cy="365125"/>
          </a:xfrm>
        </p:spPr>
        <p:txBody>
          <a:bodyPr/>
          <a:lstStyle/>
          <a:p>
            <a:r>
              <a:rPr lang="en-GB" sz="1000" dirty="0"/>
              <a:t>www.upskilpro.com</a:t>
            </a:r>
          </a:p>
        </p:txBody>
      </p:sp>
      <p:graphicFrame>
        <p:nvGraphicFramePr>
          <p:cNvPr id="7" name="Table 5">
            <a:extLst>
              <a:ext uri="{FF2B5EF4-FFF2-40B4-BE49-F238E27FC236}">
                <a16:creationId xmlns:a16="http://schemas.microsoft.com/office/drawing/2014/main" id="{69CCC913-66C2-E876-7694-90092512E8D5}"/>
              </a:ext>
            </a:extLst>
          </p:cNvPr>
          <p:cNvGraphicFramePr>
            <a:graphicFrameLocks noGrp="1"/>
          </p:cNvGraphicFramePr>
          <p:nvPr>
            <p:extLst>
              <p:ext uri="{D42A27DB-BD31-4B8C-83A1-F6EECF244321}">
                <p14:modId xmlns:p14="http://schemas.microsoft.com/office/powerpoint/2010/main" val="2994909101"/>
              </p:ext>
            </p:extLst>
          </p:nvPr>
        </p:nvGraphicFramePr>
        <p:xfrm>
          <a:off x="5231261" y="76049"/>
          <a:ext cx="4773411" cy="6629400"/>
        </p:xfrm>
        <a:graphic>
          <a:graphicData uri="http://schemas.openxmlformats.org/drawingml/2006/table">
            <a:tbl>
              <a:tblPr firstRow="1" bandRow="1">
                <a:tableStyleId>{5C22544A-7EE6-4342-B048-85BDC9FD1C3A}</a:tableStyleId>
              </a:tblPr>
              <a:tblGrid>
                <a:gridCol w="1011451">
                  <a:extLst>
                    <a:ext uri="{9D8B030D-6E8A-4147-A177-3AD203B41FA5}">
                      <a16:colId xmlns:a16="http://schemas.microsoft.com/office/drawing/2014/main" val="250726202"/>
                    </a:ext>
                  </a:extLst>
                </a:gridCol>
                <a:gridCol w="2849646">
                  <a:extLst>
                    <a:ext uri="{9D8B030D-6E8A-4147-A177-3AD203B41FA5}">
                      <a16:colId xmlns:a16="http://schemas.microsoft.com/office/drawing/2014/main" val="2361609606"/>
                    </a:ext>
                  </a:extLst>
                </a:gridCol>
                <a:gridCol w="912314">
                  <a:extLst>
                    <a:ext uri="{9D8B030D-6E8A-4147-A177-3AD203B41FA5}">
                      <a16:colId xmlns:a16="http://schemas.microsoft.com/office/drawing/2014/main" val="4003720094"/>
                    </a:ext>
                  </a:extLst>
                </a:gridCol>
              </a:tblGrid>
              <a:tr h="215353">
                <a:tc gridSpan="2">
                  <a:txBody>
                    <a:bodyPr/>
                    <a:lstStyle/>
                    <a:p>
                      <a:r>
                        <a:rPr lang="en-GB" sz="900" dirty="0"/>
                        <a:t>Summary </a:t>
                      </a:r>
                    </a:p>
                  </a:txBody>
                  <a:tcPr>
                    <a:solidFill>
                      <a:srgbClr val="DB5000"/>
                    </a:solidFill>
                  </a:tcPr>
                </a:tc>
                <a:tc hMerge="1">
                  <a:txBody>
                    <a:bodyPr/>
                    <a:lstStyle/>
                    <a:p>
                      <a:endParaRPr lang="en-GB" dirty="0"/>
                    </a:p>
                  </a:txBody>
                  <a:tcPr>
                    <a:solidFill>
                      <a:srgbClr val="DB5000"/>
                    </a:solidFill>
                  </a:tcPr>
                </a:tc>
                <a:tc>
                  <a:txBody>
                    <a:bodyPr/>
                    <a:lstStyle/>
                    <a:p>
                      <a:r>
                        <a:rPr lang="en-GB" sz="900" dirty="0"/>
                        <a:t>Page No</a:t>
                      </a:r>
                    </a:p>
                  </a:txBody>
                  <a:tcPr>
                    <a:solidFill>
                      <a:srgbClr val="DB5000"/>
                    </a:solidFill>
                  </a:tcPr>
                </a:tc>
                <a:extLst>
                  <a:ext uri="{0D108BD9-81ED-4DB2-BD59-A6C34878D82A}">
                    <a16:rowId xmlns:a16="http://schemas.microsoft.com/office/drawing/2014/main" val="1379040451"/>
                  </a:ext>
                </a:extLst>
              </a:tr>
              <a:tr h="200061">
                <a:tc>
                  <a:txBody>
                    <a:bodyPr/>
                    <a:lstStyle/>
                    <a:p>
                      <a:r>
                        <a:rPr lang="en-GB" sz="900" b="1" dirty="0">
                          <a:solidFill>
                            <a:schemeClr val="bg1"/>
                          </a:solidFill>
                          <a:latin typeface="Lato Long"/>
                        </a:rPr>
                        <a:t>1.0</a:t>
                      </a:r>
                    </a:p>
                  </a:txBody>
                  <a:tcPr>
                    <a:solidFill>
                      <a:srgbClr val="3984A3"/>
                    </a:solidFill>
                  </a:tcPr>
                </a:tc>
                <a:tc>
                  <a:txBody>
                    <a:bodyPr/>
                    <a:lstStyle/>
                    <a:p>
                      <a:r>
                        <a:rPr lang="en-GB" sz="900" b="1" dirty="0">
                          <a:solidFill>
                            <a:schemeClr val="bg1"/>
                          </a:solidFill>
                          <a:latin typeface="Lato Long"/>
                        </a:rPr>
                        <a:t>Summary </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88537191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Corporate Objectives and Mission Statement</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142382326"/>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Market specific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30397707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ategory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43845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ustomer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9847186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hannel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9018709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Key Opportunities identified (B2B &amp; B2C)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27244981"/>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Priority Categories and Brand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56631578"/>
                  </a:ext>
                </a:extLst>
              </a:tr>
              <a:tr h="200061">
                <a:tc>
                  <a:txBody>
                    <a:bodyPr/>
                    <a:lstStyle/>
                    <a:p>
                      <a:r>
                        <a:rPr lang="en-GB" sz="900" dirty="0">
                          <a:solidFill>
                            <a:schemeClr val="bg1"/>
                          </a:solidFill>
                          <a:latin typeface="Lato Long"/>
                        </a:rPr>
                        <a:t>2.0</a:t>
                      </a:r>
                    </a:p>
                  </a:txBody>
                  <a:tcPr>
                    <a:solidFill>
                      <a:srgbClr val="3984A3"/>
                    </a:solidFill>
                  </a:tcPr>
                </a:tc>
                <a:tc>
                  <a:txBody>
                    <a:bodyPr/>
                    <a:lstStyle/>
                    <a:p>
                      <a:r>
                        <a:rPr lang="en-GB" sz="900" b="1" dirty="0">
                          <a:solidFill>
                            <a:schemeClr val="bg1"/>
                          </a:solidFill>
                          <a:latin typeface="Lato Long"/>
                        </a:rPr>
                        <a:t>Analysi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556882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Market sizing / Channel Sizing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40030120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Key Channels and Customer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6251086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petitive analysi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9047431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Opportunities and threat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191416563"/>
                  </a:ext>
                </a:extLst>
              </a:tr>
              <a:tr h="200061">
                <a:tc>
                  <a:txBody>
                    <a:bodyPr/>
                    <a:lstStyle/>
                    <a:p>
                      <a:r>
                        <a:rPr lang="en-GB" sz="900" dirty="0">
                          <a:solidFill>
                            <a:schemeClr val="bg1"/>
                          </a:solidFill>
                          <a:latin typeface="Lato Long"/>
                        </a:rPr>
                        <a:t>3.0</a:t>
                      </a:r>
                    </a:p>
                  </a:txBody>
                  <a:tcPr>
                    <a:solidFill>
                      <a:srgbClr val="3984A3"/>
                    </a:solidFill>
                  </a:tcPr>
                </a:tc>
                <a:tc>
                  <a:txBody>
                    <a:bodyPr/>
                    <a:lstStyle/>
                    <a:p>
                      <a:r>
                        <a:rPr lang="en-GB" sz="900" b="1" dirty="0">
                          <a:solidFill>
                            <a:schemeClr val="bg1"/>
                          </a:solidFill>
                          <a:latin typeface="Lato Long"/>
                        </a:rPr>
                        <a:t>Resource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5146695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Human resource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3108314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POS Resource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45114604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Investments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32402442"/>
                  </a:ext>
                </a:extLst>
              </a:tr>
              <a:tr h="200061">
                <a:tc>
                  <a:txBody>
                    <a:bodyPr/>
                    <a:lstStyle/>
                    <a:p>
                      <a:r>
                        <a:rPr lang="en-GB" sz="900" dirty="0">
                          <a:solidFill>
                            <a:schemeClr val="bg1"/>
                          </a:solidFill>
                          <a:latin typeface="Lato Long"/>
                        </a:rPr>
                        <a:t>4.0</a:t>
                      </a:r>
                    </a:p>
                  </a:txBody>
                  <a:tcPr>
                    <a:solidFill>
                      <a:srgbClr val="3984A3"/>
                    </a:solidFill>
                  </a:tcPr>
                </a:tc>
                <a:tc>
                  <a:txBody>
                    <a:bodyPr/>
                    <a:lstStyle/>
                    <a:p>
                      <a:r>
                        <a:rPr lang="en-GB" sz="900" b="1" dirty="0">
                          <a:solidFill>
                            <a:schemeClr val="bg1"/>
                          </a:solidFill>
                          <a:latin typeface="Lato Long"/>
                        </a:rPr>
                        <a:t>Tactic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01312479"/>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75000"/>
                              <a:lumOff val="25000"/>
                            </a:schemeClr>
                          </a:solidFill>
                          <a:latin typeface="Lato Long"/>
                        </a:rPr>
                        <a:t>Brands channels and tactic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6304355"/>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Branding Plans</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5008497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munication Plan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90853343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POS Plan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85700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High level tactical calendar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23390391"/>
                  </a:ext>
                </a:extLst>
              </a:tr>
              <a:tr h="200061">
                <a:tc>
                  <a:txBody>
                    <a:bodyPr/>
                    <a:lstStyle/>
                    <a:p>
                      <a:r>
                        <a:rPr lang="en-GB" sz="900" b="1" dirty="0">
                          <a:solidFill>
                            <a:schemeClr val="bg1"/>
                          </a:solidFill>
                          <a:latin typeface="Lato Long"/>
                        </a:rPr>
                        <a:t>5.0</a:t>
                      </a:r>
                    </a:p>
                  </a:txBody>
                  <a:tcPr>
                    <a:solidFill>
                      <a:schemeClr val="accent1"/>
                    </a:solidFill>
                  </a:tcPr>
                </a:tc>
                <a:tc>
                  <a:txBody>
                    <a:bodyPr/>
                    <a:lstStyle/>
                    <a:p>
                      <a:r>
                        <a:rPr lang="en-GB" sz="900" b="1" dirty="0">
                          <a:solidFill>
                            <a:schemeClr val="bg1"/>
                          </a:solidFill>
                          <a:latin typeface="Lato Long"/>
                        </a:rPr>
                        <a:t>P&amp;L</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703129503"/>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P&amp;L</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5752941"/>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Marketing ROI and Ratio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7789640"/>
                  </a:ext>
                </a:extLst>
              </a:tr>
              <a:tr h="200061">
                <a:tc>
                  <a:txBody>
                    <a:bodyPr/>
                    <a:lstStyle/>
                    <a:p>
                      <a:r>
                        <a:rPr lang="en-GB" sz="900" b="1" dirty="0">
                          <a:solidFill>
                            <a:schemeClr val="bg1"/>
                          </a:solidFill>
                          <a:latin typeface="Lato Long"/>
                        </a:rPr>
                        <a:t>6.0</a:t>
                      </a:r>
                    </a:p>
                  </a:txBody>
                  <a:tcPr>
                    <a:solidFill>
                      <a:schemeClr val="accent1"/>
                    </a:solidFill>
                  </a:tcPr>
                </a:tc>
                <a:tc>
                  <a:txBody>
                    <a:bodyPr/>
                    <a:lstStyle/>
                    <a:p>
                      <a:r>
                        <a:rPr lang="en-GB" sz="900" b="1" dirty="0">
                          <a:solidFill>
                            <a:schemeClr val="bg1"/>
                          </a:solidFill>
                          <a:latin typeface="Lato Long"/>
                        </a:rPr>
                        <a:t>Conclusions </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72979437"/>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Recommendations and Review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86498152"/>
                  </a:ext>
                </a:extLst>
              </a:tr>
            </a:tbl>
          </a:graphicData>
        </a:graphic>
      </p:graphicFrame>
    </p:spTree>
    <p:extLst>
      <p:ext uri="{BB962C8B-B14F-4D97-AF65-F5344CB8AC3E}">
        <p14:creationId xmlns:p14="http://schemas.microsoft.com/office/powerpoint/2010/main" val="49911790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773D0AC-846B-45C8-AFD0-60AB765F7443}"/>
              </a:ext>
            </a:extLst>
          </p:cNvPr>
          <p:cNvSpPr/>
          <p:nvPr/>
        </p:nvSpPr>
        <p:spPr>
          <a:xfrm>
            <a:off x="6888112" y="3539290"/>
            <a:ext cx="591220" cy="45720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36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56660" y="2498665"/>
            <a:ext cx="4697771" cy="2936188"/>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Customer satisfaction is derived from answering a question posed to a respondent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Q – How satisfied are you with XYZ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Q – Would you recommend us to your friends or colleagues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Q – How much do you plan to spend on XYZ brand in the next 3 months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The above needs a support program to be effective and gain interest such as rewards / Loyalty or recognition program.</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907190"/>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1974854"/>
              <a:ext cx="5322266" cy="461665"/>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818362"/>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070128" y="1121871"/>
              <a:ext cx="1922610" cy="338554"/>
            </a:xfrm>
            <a:prstGeom prst="rect">
              <a:avLst/>
            </a:prstGeom>
            <a:noFill/>
            <a:ln>
              <a:noFill/>
            </a:ln>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8204D"/>
                  </a:solidFill>
                  <a:effectLst/>
                  <a:uLnTx/>
                  <a:uFillTx/>
                  <a:latin typeface="Lato Light" panose="020F0502020204030203" pitchFamily="34" charset="0"/>
                  <a:ea typeface="Lato Light" panose="020F0502020204030203" pitchFamily="34" charset="0"/>
                  <a:cs typeface="Lato Light" panose="020F0502020204030203" pitchFamily="34" charset="0"/>
                </a:rPr>
                <a:t>Customer Satisfaction</a:t>
              </a:r>
            </a:p>
          </p:txBody>
        </p:sp>
      </p:grpSp>
      <p:sp>
        <p:nvSpPr>
          <p:cNvPr id="27" name="Rectangle 26">
            <a:extLst>
              <a:ext uri="{FF2B5EF4-FFF2-40B4-BE49-F238E27FC236}">
                <a16:creationId xmlns:a16="http://schemas.microsoft.com/office/drawing/2014/main" id="{F7848B7E-08D0-410A-A21E-5BAA040E25F7}"/>
              </a:ext>
            </a:extLst>
          </p:cNvPr>
          <p:cNvSpPr/>
          <p:nvPr/>
        </p:nvSpPr>
        <p:spPr>
          <a:xfrm>
            <a:off x="5070007" y="3539289"/>
            <a:ext cx="1778051" cy="457501"/>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Customer Satisfaction </a:t>
            </a:r>
          </a:p>
        </p:txBody>
      </p:sp>
      <p:sp>
        <p:nvSpPr>
          <p:cNvPr id="28" name="Rectangle 27">
            <a:extLst>
              <a:ext uri="{FF2B5EF4-FFF2-40B4-BE49-F238E27FC236}">
                <a16:creationId xmlns:a16="http://schemas.microsoft.com/office/drawing/2014/main" id="{A77BBAED-4097-4D66-88DC-A0C748AF6E21}"/>
              </a:ext>
            </a:extLst>
          </p:cNvPr>
          <p:cNvSpPr/>
          <p:nvPr/>
        </p:nvSpPr>
        <p:spPr>
          <a:xfrm>
            <a:off x="7519386" y="3539290"/>
            <a:ext cx="4467075" cy="457501"/>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Would you recommend this product or service to a friend or colleague </a:t>
            </a:r>
          </a:p>
        </p:txBody>
      </p:sp>
      <p:sp>
        <p:nvSpPr>
          <p:cNvPr id="21" name="TextBox 20">
            <a:extLst>
              <a:ext uri="{FF2B5EF4-FFF2-40B4-BE49-F238E27FC236}">
                <a16:creationId xmlns:a16="http://schemas.microsoft.com/office/drawing/2014/main" id="{AAF827A6-4DE0-1920-3F99-BF9243ADB526}"/>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25" name="TextBox 24">
            <a:extLst>
              <a:ext uri="{FF2B5EF4-FFF2-40B4-BE49-F238E27FC236}">
                <a16:creationId xmlns:a16="http://schemas.microsoft.com/office/drawing/2014/main" id="{347F8831-108E-DB6C-2220-D7F033B2D2F7}"/>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783924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773D0AC-846B-45C8-AFD0-60AB765F7443}"/>
              </a:ext>
            </a:extLst>
          </p:cNvPr>
          <p:cNvSpPr/>
          <p:nvPr/>
        </p:nvSpPr>
        <p:spPr>
          <a:xfrm>
            <a:off x="6888112" y="2755526"/>
            <a:ext cx="591220" cy="43200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36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94018" y="1937197"/>
            <a:ext cx="4697771" cy="3988784"/>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8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This is based on your product sales cycle replenishment , of your customers buy every year and  you have 100 customers at the beginning of the year and close the year with 80 , then your CR is 20%</a:t>
            </a:r>
          </a:p>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kumimoji="0" lang="en-GB" sz="1400" b="1"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However</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If your product sales cycle replenishment is every 3 years ( like an lease car ) then you calculate in cycles of 3 , so if you start with 500 customers in a given year and 3 years later 90 of the original 500 have left then your churn rate is 6% per year as its 18% over 3 years divided by the number of years = 3 , delivering 6% per year . Then your CR is 6%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You may change the CR in line with your product sale replenishment cycle , for example it may be 30 days , 60 days , 90 or 180 days , you so you apply the calculation accordingly.</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07693"/>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97965"/>
              <a:ext cx="5322266" cy="338554"/>
            </a:xfrm>
            <a:prstGeom prst="rect">
              <a:avLst/>
            </a:prstGeom>
            <a:noFill/>
            <a:ln>
              <a:noFill/>
            </a:ln>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211513" y="1397430"/>
            <a:ext cx="4187320"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187765" y="1158447"/>
              <a:ext cx="1080033" cy="338554"/>
            </a:xfrm>
            <a:prstGeom prst="rect">
              <a:avLst/>
            </a:prstGeom>
            <a:noFill/>
            <a:ln>
              <a:noFill/>
            </a:ln>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8204D"/>
                  </a:solidFill>
                  <a:effectLst/>
                  <a:uLnTx/>
                  <a:uFillTx/>
                  <a:latin typeface="Lato Light" panose="020F0502020204030203" pitchFamily="34" charset="0"/>
                  <a:ea typeface="Lato Light" panose="020F0502020204030203" pitchFamily="34" charset="0"/>
                  <a:cs typeface="Lato Light" panose="020F0502020204030203" pitchFamily="34" charset="0"/>
                </a:rPr>
                <a:t>Churn rate </a:t>
              </a:r>
            </a:p>
          </p:txBody>
        </p:sp>
      </p:grpSp>
      <p:sp>
        <p:nvSpPr>
          <p:cNvPr id="27" name="Rectangle 26">
            <a:extLst>
              <a:ext uri="{FF2B5EF4-FFF2-40B4-BE49-F238E27FC236}">
                <a16:creationId xmlns:a16="http://schemas.microsoft.com/office/drawing/2014/main" id="{F7848B7E-08D0-410A-A21E-5BAA040E25F7}"/>
              </a:ext>
            </a:extLst>
          </p:cNvPr>
          <p:cNvSpPr/>
          <p:nvPr/>
        </p:nvSpPr>
        <p:spPr>
          <a:xfrm>
            <a:off x="5040780" y="2760231"/>
            <a:ext cx="1778051" cy="43200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Churn rate </a:t>
            </a:r>
          </a:p>
        </p:txBody>
      </p:sp>
      <p:sp>
        <p:nvSpPr>
          <p:cNvPr id="28" name="Rectangle 27">
            <a:extLst>
              <a:ext uri="{FF2B5EF4-FFF2-40B4-BE49-F238E27FC236}">
                <a16:creationId xmlns:a16="http://schemas.microsoft.com/office/drawing/2014/main" id="{A77BBAED-4097-4D66-88DC-A0C748AF6E21}"/>
              </a:ext>
            </a:extLst>
          </p:cNvPr>
          <p:cNvSpPr/>
          <p:nvPr/>
        </p:nvSpPr>
        <p:spPr>
          <a:xfrm>
            <a:off x="7519386" y="2743339"/>
            <a:ext cx="4467075" cy="43200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 of existing customers who stop purchasing products and services ( measure in a year  ) </a:t>
            </a:r>
            <a:endParaRPr kumimoji="0" lang="en-US" sz="12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1" name="TextBox 20">
            <a:extLst>
              <a:ext uri="{FF2B5EF4-FFF2-40B4-BE49-F238E27FC236}">
                <a16:creationId xmlns:a16="http://schemas.microsoft.com/office/drawing/2014/main" id="{76E70CBB-2F3C-11C6-7423-96989EA0E9B4}"/>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25" name="TextBox 24">
            <a:extLst>
              <a:ext uri="{FF2B5EF4-FFF2-40B4-BE49-F238E27FC236}">
                <a16:creationId xmlns:a16="http://schemas.microsoft.com/office/drawing/2014/main" id="{587A0FFB-32C9-641F-E511-282EE274EA7B}"/>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17774804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5773D0AC-846B-45C8-AFD0-60AB765F7443}"/>
              </a:ext>
            </a:extLst>
          </p:cNvPr>
          <p:cNvSpPr/>
          <p:nvPr/>
        </p:nvSpPr>
        <p:spPr>
          <a:xfrm>
            <a:off x="6888112" y="2744659"/>
            <a:ext cx="591220" cy="34920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56660" y="2498665"/>
            <a:ext cx="4697771" cy="3625608"/>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ample </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e sent out 1000 brochures offering 10$ off on a purchase of a  Hand drill , the cost of the material despatched was 4$ X 1000 = 4,000 $.</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100 customers responded and bought a hand drill which was 10% of the mailing list , since the cost of the mailing was 4,000$ and the 10$ on offer made now to 100 customers cost 10$ X 100 = 1,000$ the total cost was 5,000$.</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Any profitability below 50$ per customer indicates a loss making proposition  </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The above is also known as the “ take rate “</a:t>
            </a:r>
          </a:p>
          <a:p>
            <a:pPr marL="171450" marR="0" lvl="0" indent="-171450" algn="l"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67187"/>
            <a:ext cx="5322266" cy="369332"/>
          </a:xfrm>
          <a:prstGeom prst="rect">
            <a:avLst/>
          </a:prstGeom>
          <a:noFill/>
          <a:ln>
            <a:noFill/>
          </a:ln>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nvGrpSpPr>
          <p:cNvPr id="2" name="Group 1">
            <a:extLst>
              <a:ext uri="{FF2B5EF4-FFF2-40B4-BE49-F238E27FC236}">
                <a16:creationId xmlns:a16="http://schemas.microsoft.com/office/drawing/2014/main" id="{5AD4D3FB-4570-48F5-80CB-DB171FD8A6DB}"/>
              </a:ext>
            </a:extLst>
          </p:cNvPr>
          <p:cNvGrpSpPr/>
          <p:nvPr/>
        </p:nvGrpSpPr>
        <p:grpSpPr>
          <a:xfrm>
            <a:off x="334381" y="1818362"/>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070128" y="1106482"/>
              <a:ext cx="1725223" cy="369332"/>
            </a:xfrm>
            <a:prstGeom prst="rect">
              <a:avLst/>
            </a:prstGeom>
            <a:noFill/>
            <a:ln>
              <a:noFill/>
            </a:ln>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8204D"/>
                  </a:solidFill>
                  <a:effectLst/>
                  <a:uLnTx/>
                  <a:uFillTx/>
                  <a:latin typeface="Lato Light" panose="020F0502020204030203" pitchFamily="34" charset="0"/>
                  <a:ea typeface="Lato Light" panose="020F0502020204030203" pitchFamily="34" charset="0"/>
                  <a:cs typeface="Lato Light" panose="020F0502020204030203" pitchFamily="34" charset="0"/>
                </a:rPr>
                <a:t>Redemption rate </a:t>
              </a:r>
            </a:p>
          </p:txBody>
        </p:sp>
      </p:grpSp>
      <p:sp>
        <p:nvSpPr>
          <p:cNvPr id="27" name="Rectangle 26">
            <a:extLst>
              <a:ext uri="{FF2B5EF4-FFF2-40B4-BE49-F238E27FC236}">
                <a16:creationId xmlns:a16="http://schemas.microsoft.com/office/drawing/2014/main" id="{F7848B7E-08D0-410A-A21E-5BAA040E25F7}"/>
              </a:ext>
            </a:extLst>
          </p:cNvPr>
          <p:cNvSpPr/>
          <p:nvPr/>
        </p:nvSpPr>
        <p:spPr>
          <a:xfrm>
            <a:off x="5058536" y="2753537"/>
            <a:ext cx="1778051" cy="34920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Redemption rate </a:t>
            </a:r>
          </a:p>
        </p:txBody>
      </p:sp>
      <p:sp>
        <p:nvSpPr>
          <p:cNvPr id="28" name="Rectangle 27">
            <a:extLst>
              <a:ext uri="{FF2B5EF4-FFF2-40B4-BE49-F238E27FC236}">
                <a16:creationId xmlns:a16="http://schemas.microsoft.com/office/drawing/2014/main" id="{A77BBAED-4097-4D66-88DC-A0C748AF6E21}"/>
              </a:ext>
            </a:extLst>
          </p:cNvPr>
          <p:cNvSpPr/>
          <p:nvPr/>
        </p:nvSpPr>
        <p:spPr>
          <a:xfrm>
            <a:off x="7519386" y="2736645"/>
            <a:ext cx="4467075" cy="349200"/>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The number or % of customers accepting a marketing offer </a:t>
            </a:r>
          </a:p>
        </p:txBody>
      </p:sp>
      <p:sp>
        <p:nvSpPr>
          <p:cNvPr id="30" name="Rectangle 29">
            <a:extLst>
              <a:ext uri="{FF2B5EF4-FFF2-40B4-BE49-F238E27FC236}">
                <a16:creationId xmlns:a16="http://schemas.microsoft.com/office/drawing/2014/main" id="{272F47A6-A37F-4F64-8D1D-DA22E54B3355}"/>
              </a:ext>
            </a:extLst>
          </p:cNvPr>
          <p:cNvSpPr/>
          <p:nvPr/>
        </p:nvSpPr>
        <p:spPr>
          <a:xfrm>
            <a:off x="7569668" y="3606614"/>
            <a:ext cx="3691797" cy="348422"/>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No of contracts </a:t>
            </a:r>
            <a:endPar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2" name="Rectangle 31">
            <a:extLst>
              <a:ext uri="{FF2B5EF4-FFF2-40B4-BE49-F238E27FC236}">
                <a16:creationId xmlns:a16="http://schemas.microsoft.com/office/drawing/2014/main" id="{EA76FF13-3667-4CC8-89BE-344203897F24}"/>
              </a:ext>
            </a:extLst>
          </p:cNvPr>
          <p:cNvSpPr/>
          <p:nvPr/>
        </p:nvSpPr>
        <p:spPr>
          <a:xfrm>
            <a:off x="7569669" y="3167826"/>
            <a:ext cx="3691797" cy="348422"/>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No of accepted offers </a:t>
            </a:r>
            <a:endPar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3" name="Rectangle 32">
            <a:extLst>
              <a:ext uri="{FF2B5EF4-FFF2-40B4-BE49-F238E27FC236}">
                <a16:creationId xmlns:a16="http://schemas.microsoft.com/office/drawing/2014/main" id="{DA584E9C-AC0D-4D9C-B00A-FD407EF64285}"/>
              </a:ext>
            </a:extLst>
          </p:cNvPr>
          <p:cNvSpPr/>
          <p:nvPr/>
        </p:nvSpPr>
        <p:spPr>
          <a:xfrm>
            <a:off x="5085170" y="3428602"/>
            <a:ext cx="1778051" cy="348422"/>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Redemption rate </a:t>
            </a:r>
          </a:p>
        </p:txBody>
      </p:sp>
      <p:sp>
        <p:nvSpPr>
          <p:cNvPr id="36" name="Rectangle 35">
            <a:extLst>
              <a:ext uri="{FF2B5EF4-FFF2-40B4-BE49-F238E27FC236}">
                <a16:creationId xmlns:a16="http://schemas.microsoft.com/office/drawing/2014/main" id="{9AFDF914-2B83-4995-964D-76F1180FF2BD}"/>
              </a:ext>
            </a:extLst>
          </p:cNvPr>
          <p:cNvSpPr/>
          <p:nvPr/>
        </p:nvSpPr>
        <p:spPr>
          <a:xfrm>
            <a:off x="7569669" y="5204082"/>
            <a:ext cx="3691797" cy="348422"/>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100 customers</a:t>
            </a:r>
          </a:p>
        </p:txBody>
      </p:sp>
      <p:sp>
        <p:nvSpPr>
          <p:cNvPr id="37" name="Rectangle 36">
            <a:extLst>
              <a:ext uri="{FF2B5EF4-FFF2-40B4-BE49-F238E27FC236}">
                <a16:creationId xmlns:a16="http://schemas.microsoft.com/office/drawing/2014/main" id="{E173E689-DBC4-40EB-855B-6FFDAE334D5D}"/>
              </a:ext>
            </a:extLst>
          </p:cNvPr>
          <p:cNvSpPr/>
          <p:nvPr/>
        </p:nvSpPr>
        <p:spPr>
          <a:xfrm>
            <a:off x="7569670" y="4765294"/>
            <a:ext cx="3691797" cy="348422"/>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Cost is 5,000</a:t>
            </a:r>
          </a:p>
        </p:txBody>
      </p:sp>
      <p:sp>
        <p:nvSpPr>
          <p:cNvPr id="38" name="Rectangle 37">
            <a:extLst>
              <a:ext uri="{FF2B5EF4-FFF2-40B4-BE49-F238E27FC236}">
                <a16:creationId xmlns:a16="http://schemas.microsoft.com/office/drawing/2014/main" id="{5254A85A-4C60-4ECB-B50B-EAA9BB6973F0}"/>
              </a:ext>
            </a:extLst>
          </p:cNvPr>
          <p:cNvSpPr/>
          <p:nvPr/>
        </p:nvSpPr>
        <p:spPr>
          <a:xfrm>
            <a:off x="5102923" y="5043826"/>
            <a:ext cx="1778051" cy="348422"/>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Customer acquisition cost</a:t>
            </a:r>
          </a:p>
        </p:txBody>
      </p:sp>
      <p:sp>
        <p:nvSpPr>
          <p:cNvPr id="42" name="Rectangle 41">
            <a:extLst>
              <a:ext uri="{FF2B5EF4-FFF2-40B4-BE49-F238E27FC236}">
                <a16:creationId xmlns:a16="http://schemas.microsoft.com/office/drawing/2014/main" id="{898040CB-707E-4251-AC3D-3DA97CE98B39}"/>
              </a:ext>
            </a:extLst>
          </p:cNvPr>
          <p:cNvSpPr/>
          <p:nvPr/>
        </p:nvSpPr>
        <p:spPr>
          <a:xfrm>
            <a:off x="7622936" y="5762399"/>
            <a:ext cx="3691797" cy="348422"/>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50 $ per customer </a:t>
            </a:r>
          </a:p>
        </p:txBody>
      </p:sp>
      <p:sp>
        <p:nvSpPr>
          <p:cNvPr id="43" name="Rectangle 42">
            <a:extLst>
              <a:ext uri="{FF2B5EF4-FFF2-40B4-BE49-F238E27FC236}">
                <a16:creationId xmlns:a16="http://schemas.microsoft.com/office/drawing/2014/main" id="{3C5C967E-40BD-4284-AD83-E63FF6FFEDB8}"/>
              </a:ext>
            </a:extLst>
          </p:cNvPr>
          <p:cNvSpPr/>
          <p:nvPr/>
        </p:nvSpPr>
        <p:spPr>
          <a:xfrm>
            <a:off x="5102926" y="5762399"/>
            <a:ext cx="1778051" cy="348422"/>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Customer acquisition cost</a:t>
            </a:r>
          </a:p>
        </p:txBody>
      </p:sp>
      <p:sp>
        <p:nvSpPr>
          <p:cNvPr id="41" name="Rectangle 40">
            <a:extLst>
              <a:ext uri="{FF2B5EF4-FFF2-40B4-BE49-F238E27FC236}">
                <a16:creationId xmlns:a16="http://schemas.microsoft.com/office/drawing/2014/main" id="{8B81FD64-9631-4E2C-8F2D-5367154D2E08}"/>
              </a:ext>
            </a:extLst>
          </p:cNvPr>
          <p:cNvSpPr/>
          <p:nvPr/>
        </p:nvSpPr>
        <p:spPr>
          <a:xfrm>
            <a:off x="6919288" y="3320710"/>
            <a:ext cx="591220"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45" name="Rectangle 44">
            <a:extLst>
              <a:ext uri="{FF2B5EF4-FFF2-40B4-BE49-F238E27FC236}">
                <a16:creationId xmlns:a16="http://schemas.microsoft.com/office/drawing/2014/main" id="{53B80851-A039-4D24-B4FA-3AF8394C1BDF}"/>
              </a:ext>
            </a:extLst>
          </p:cNvPr>
          <p:cNvSpPr/>
          <p:nvPr/>
        </p:nvSpPr>
        <p:spPr>
          <a:xfrm>
            <a:off x="6941378" y="4888485"/>
            <a:ext cx="591220"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46" name="Rectangle 45">
            <a:extLst>
              <a:ext uri="{FF2B5EF4-FFF2-40B4-BE49-F238E27FC236}">
                <a16:creationId xmlns:a16="http://schemas.microsoft.com/office/drawing/2014/main" id="{D45F5995-0B42-46E8-9828-80088A1F6DA2}"/>
              </a:ext>
            </a:extLst>
          </p:cNvPr>
          <p:cNvSpPr/>
          <p:nvPr/>
        </p:nvSpPr>
        <p:spPr>
          <a:xfrm>
            <a:off x="6964297" y="5762399"/>
            <a:ext cx="591220" cy="348422"/>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9" name="TextBox 28">
            <a:extLst>
              <a:ext uri="{FF2B5EF4-FFF2-40B4-BE49-F238E27FC236}">
                <a16:creationId xmlns:a16="http://schemas.microsoft.com/office/drawing/2014/main" id="{E12F4021-3DF2-A0C2-8A3F-FF7F3BAEAA17}"/>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1" name="TextBox 30">
            <a:extLst>
              <a:ext uri="{FF2B5EF4-FFF2-40B4-BE49-F238E27FC236}">
                <a16:creationId xmlns:a16="http://schemas.microsoft.com/office/drawing/2014/main" id="{CA1AFBF2-465E-923E-DB4D-D41A370FF83E}"/>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35097161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3FE26-985D-4FE4-AFA1-6231464E50F7}"/>
              </a:ext>
            </a:extLst>
          </p:cNvPr>
          <p:cNvSpPr/>
          <p:nvPr/>
        </p:nvSpPr>
        <p:spPr>
          <a:xfrm>
            <a:off x="0" y="0"/>
            <a:ext cx="4856085" cy="6858000"/>
          </a:xfrm>
          <a:prstGeom prst="rect">
            <a:avLst/>
          </a:prstGeom>
          <a:pattFill prst="lgGrid">
            <a:fgClr>
              <a:srgbClr val="ECECE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Logo&#10;&#10;Description automatically generated">
            <a:extLst>
              <a:ext uri="{FF2B5EF4-FFF2-40B4-BE49-F238E27FC236}">
                <a16:creationId xmlns:a16="http://schemas.microsoft.com/office/drawing/2014/main" id="{17DE589F-B53E-4AB5-9981-68813A7CC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11" name="Subtitle 2">
            <a:extLst>
              <a:ext uri="{FF2B5EF4-FFF2-40B4-BE49-F238E27FC236}">
                <a16:creationId xmlns:a16="http://schemas.microsoft.com/office/drawing/2014/main" id="{6C5F9FA3-7494-4E62-8AB3-34C96BF26B1E}"/>
              </a:ext>
            </a:extLst>
          </p:cNvPr>
          <p:cNvSpPr txBox="1">
            <a:spLocks/>
          </p:cNvSpPr>
          <p:nvPr/>
        </p:nvSpPr>
        <p:spPr>
          <a:xfrm>
            <a:off x="156660" y="2081413"/>
            <a:ext cx="4697771" cy="1298817"/>
          </a:xfrm>
          <a:prstGeom prst="rect">
            <a:avLst/>
          </a:prstGeom>
          <a:ln>
            <a:noFill/>
          </a:ln>
        </p:spPr>
        <p:txBody>
          <a:bodyPr vert="horz" wrap="square" lIns="91440" tIns="45720" rIns="91440" bIns="4572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endParaRPr kumimoji="0" lang="en-GB" sz="1400" b="0" i="1"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1" i="0" u="sng"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Explanation </a:t>
            </a:r>
          </a:p>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 </a:t>
            </a:r>
          </a:p>
          <a:p>
            <a:pPr marL="285750" marR="0" lvl="0" indent="-285750" algn="ctr" defTabSz="1087636"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The price paid for a product by customers after all discounts has been built in is called pocket price </a:t>
            </a:r>
          </a:p>
        </p:txBody>
      </p:sp>
      <p:grpSp>
        <p:nvGrpSpPr>
          <p:cNvPr id="3" name="Group 2">
            <a:extLst>
              <a:ext uri="{FF2B5EF4-FFF2-40B4-BE49-F238E27FC236}">
                <a16:creationId xmlns:a16="http://schemas.microsoft.com/office/drawing/2014/main" id="{FFA0F614-4B99-4A34-8D0F-E3B3026D846D}"/>
              </a:ext>
            </a:extLst>
          </p:cNvPr>
          <p:cNvGrpSpPr/>
          <p:nvPr/>
        </p:nvGrpSpPr>
        <p:grpSpPr>
          <a:xfrm>
            <a:off x="5457846" y="1534325"/>
            <a:ext cx="5781284" cy="591475"/>
            <a:chOff x="5457846" y="1907190"/>
            <a:chExt cx="5781284" cy="591475"/>
          </a:xfrm>
        </p:grpSpPr>
        <p:sp>
          <p:nvSpPr>
            <p:cNvPr id="20" name="Rounded Rectangle 25">
              <a:extLst>
                <a:ext uri="{FF2B5EF4-FFF2-40B4-BE49-F238E27FC236}">
                  <a16:creationId xmlns:a16="http://schemas.microsoft.com/office/drawing/2014/main" id="{713E9EE1-DAB8-407E-A569-029D8174C724}"/>
                </a:ext>
              </a:extLst>
            </p:cNvPr>
            <p:cNvSpPr/>
            <p:nvPr/>
          </p:nvSpPr>
          <p:spPr>
            <a:xfrm>
              <a:off x="5457846" y="1907190"/>
              <a:ext cx="5781284"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TextBox 11">
              <a:extLst>
                <a:ext uri="{FF2B5EF4-FFF2-40B4-BE49-F238E27FC236}">
                  <a16:creationId xmlns:a16="http://schemas.microsoft.com/office/drawing/2014/main" id="{48240749-A549-40C7-8D79-7C50C4D53DA5}"/>
                </a:ext>
              </a:extLst>
            </p:cNvPr>
            <p:cNvSpPr txBox="1"/>
            <p:nvPr/>
          </p:nvSpPr>
          <p:spPr>
            <a:xfrm>
              <a:off x="5703800" y="2000897"/>
              <a:ext cx="5322266" cy="400110"/>
            </a:xfrm>
            <a:prstGeom prst="rect">
              <a:avLst/>
            </a:prstGeom>
            <a:noFill/>
            <a:ln>
              <a:noFill/>
            </a:ln>
          </p:spPr>
          <p:txBody>
            <a:bodyPr wrap="squar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546A"/>
                  </a:solidFill>
                  <a:effectLst/>
                  <a:uLnTx/>
                  <a:uFillTx/>
                  <a:latin typeface="Lato Light" panose="020F0502020204030203" pitchFamily="34" charset="0"/>
                  <a:ea typeface="Lato Light" panose="020F0502020204030203" pitchFamily="34" charset="0"/>
                  <a:cs typeface="Lato Light" panose="020F0502020204030203" pitchFamily="34" charset="0"/>
                </a:rPr>
                <a:t>Working </a:t>
              </a:r>
            </a:p>
          </p:txBody>
        </p:sp>
      </p:grpSp>
      <p:grpSp>
        <p:nvGrpSpPr>
          <p:cNvPr id="2" name="Group 1">
            <a:extLst>
              <a:ext uri="{FF2B5EF4-FFF2-40B4-BE49-F238E27FC236}">
                <a16:creationId xmlns:a16="http://schemas.microsoft.com/office/drawing/2014/main" id="{5AD4D3FB-4570-48F5-80CB-DB171FD8A6DB}"/>
              </a:ext>
            </a:extLst>
          </p:cNvPr>
          <p:cNvGrpSpPr/>
          <p:nvPr/>
        </p:nvGrpSpPr>
        <p:grpSpPr>
          <a:xfrm>
            <a:off x="334381" y="1401110"/>
            <a:ext cx="4187321" cy="769130"/>
            <a:chOff x="327632" y="928571"/>
            <a:chExt cx="3847833" cy="769130"/>
          </a:xfrm>
        </p:grpSpPr>
        <p:sp>
          <p:nvSpPr>
            <p:cNvPr id="22" name="Rounded Rectangle 25">
              <a:extLst>
                <a:ext uri="{FF2B5EF4-FFF2-40B4-BE49-F238E27FC236}">
                  <a16:creationId xmlns:a16="http://schemas.microsoft.com/office/drawing/2014/main" id="{E6046BBC-7B24-4577-A3B4-8BBF87D848B7}"/>
                </a:ext>
              </a:extLst>
            </p:cNvPr>
            <p:cNvSpPr/>
            <p:nvPr/>
          </p:nvSpPr>
          <p:spPr>
            <a:xfrm>
              <a:off x="460277" y="1017399"/>
              <a:ext cx="3715188" cy="591475"/>
            </a:xfrm>
            <a:prstGeom prst="roundRect">
              <a:avLst>
                <a:gd name="adj" fmla="val 5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3" name="12-Point Star 26">
              <a:extLst>
                <a:ext uri="{FF2B5EF4-FFF2-40B4-BE49-F238E27FC236}">
                  <a16:creationId xmlns:a16="http://schemas.microsoft.com/office/drawing/2014/main" id="{FDDC238D-87CF-4F83-B94C-85C83F23D1F7}"/>
                </a:ext>
              </a:extLst>
            </p:cNvPr>
            <p:cNvSpPr/>
            <p:nvPr/>
          </p:nvSpPr>
          <p:spPr>
            <a:xfrm>
              <a:off x="327632" y="928571"/>
              <a:ext cx="769130" cy="769130"/>
            </a:xfrm>
            <a:prstGeom prst="star12">
              <a:avLst>
                <a:gd name="adj" fmla="val 4219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4" name="5-Point Star 31">
              <a:extLst>
                <a:ext uri="{FF2B5EF4-FFF2-40B4-BE49-F238E27FC236}">
                  <a16:creationId xmlns:a16="http://schemas.microsoft.com/office/drawing/2014/main" id="{9880015E-B8DB-4F3B-92F0-03C6A1A48337}"/>
                </a:ext>
              </a:extLst>
            </p:cNvPr>
            <p:cNvSpPr/>
            <p:nvPr/>
          </p:nvSpPr>
          <p:spPr>
            <a:xfrm>
              <a:off x="513301" y="1114241"/>
              <a:ext cx="397792" cy="397792"/>
            </a:xfrm>
            <a:prstGeom prst="star5">
              <a:avLst>
                <a:gd name="adj" fmla="val 2542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26" name="TextBox 25">
              <a:extLst>
                <a:ext uri="{FF2B5EF4-FFF2-40B4-BE49-F238E27FC236}">
                  <a16:creationId xmlns:a16="http://schemas.microsoft.com/office/drawing/2014/main" id="{207B3FB2-4483-4454-BC54-8E0DCE392C87}"/>
                </a:ext>
              </a:extLst>
            </p:cNvPr>
            <p:cNvSpPr txBox="1"/>
            <p:nvPr/>
          </p:nvSpPr>
          <p:spPr>
            <a:xfrm>
              <a:off x="1070128" y="1121872"/>
              <a:ext cx="1163996" cy="338554"/>
            </a:xfrm>
            <a:prstGeom prst="rect">
              <a:avLst/>
            </a:prstGeom>
            <a:noFill/>
            <a:ln>
              <a:noFill/>
            </a:ln>
          </p:spPr>
          <p:txBody>
            <a:bodyPr wrap="none" rtlCol="0" anchor="ctr" anchorCtr="0">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8204D"/>
                  </a:solidFill>
                  <a:effectLst/>
                  <a:uLnTx/>
                  <a:uFillTx/>
                  <a:latin typeface="Lato Light" panose="020F0502020204030203" pitchFamily="34" charset="0"/>
                  <a:ea typeface="Lato Light" panose="020F0502020204030203" pitchFamily="34" charset="0"/>
                  <a:cs typeface="Lato Light" panose="020F0502020204030203" pitchFamily="34" charset="0"/>
                </a:rPr>
                <a:t>Pocket Price</a:t>
              </a:r>
            </a:p>
          </p:txBody>
        </p:sp>
      </p:grpSp>
      <p:sp>
        <p:nvSpPr>
          <p:cNvPr id="25" name="TextBox 24">
            <a:extLst>
              <a:ext uri="{FF2B5EF4-FFF2-40B4-BE49-F238E27FC236}">
                <a16:creationId xmlns:a16="http://schemas.microsoft.com/office/drawing/2014/main" id="{03BAD03C-9720-4E1D-AC50-07951C4362A2}"/>
              </a:ext>
            </a:extLst>
          </p:cNvPr>
          <p:cNvSpPr txBox="1"/>
          <p:nvPr/>
        </p:nvSpPr>
        <p:spPr>
          <a:xfrm>
            <a:off x="6122612" y="5706143"/>
            <a:ext cx="201209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rPr>
              <a:t>Price Premium % = </a:t>
            </a:r>
            <a:endParaRPr kumimoji="0" lang="en-GB" sz="14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cxnSp>
        <p:nvCxnSpPr>
          <p:cNvPr id="30" name="Straight Connector 29">
            <a:extLst>
              <a:ext uri="{FF2B5EF4-FFF2-40B4-BE49-F238E27FC236}">
                <a16:creationId xmlns:a16="http://schemas.microsoft.com/office/drawing/2014/main" id="{3806FDD4-1C9E-49AD-8383-F9ACB1631403}"/>
              </a:ext>
            </a:extLst>
          </p:cNvPr>
          <p:cNvCxnSpPr/>
          <p:nvPr/>
        </p:nvCxnSpPr>
        <p:spPr>
          <a:xfrm>
            <a:off x="7947501" y="5841177"/>
            <a:ext cx="204896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F9115DD-69E2-47BB-9390-2F9833D59BC8}"/>
              </a:ext>
            </a:extLst>
          </p:cNvPr>
          <p:cNvGrpSpPr/>
          <p:nvPr/>
        </p:nvGrpSpPr>
        <p:grpSpPr>
          <a:xfrm>
            <a:off x="5040780" y="2878685"/>
            <a:ext cx="6945681" cy="1245745"/>
            <a:chOff x="5040780" y="2363780"/>
            <a:chExt cx="6945681" cy="1245745"/>
          </a:xfrm>
        </p:grpSpPr>
        <p:sp>
          <p:nvSpPr>
            <p:cNvPr id="19" name="Rectangle 18">
              <a:extLst>
                <a:ext uri="{FF2B5EF4-FFF2-40B4-BE49-F238E27FC236}">
                  <a16:creationId xmlns:a16="http://schemas.microsoft.com/office/drawing/2014/main" id="{5773D0AC-846B-45C8-AFD0-60AB765F7443}"/>
                </a:ext>
              </a:extLst>
            </p:cNvPr>
            <p:cNvSpPr/>
            <p:nvPr/>
          </p:nvSpPr>
          <p:spPr>
            <a:xfrm>
              <a:off x="6928166" y="2850338"/>
              <a:ext cx="591220" cy="320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lumMod val="50000"/>
                      <a:lumOff val="50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a:t>
              </a:r>
            </a:p>
          </p:txBody>
        </p:sp>
        <p:sp>
          <p:nvSpPr>
            <p:cNvPr id="27" name="Rectangle 26">
              <a:extLst>
                <a:ext uri="{FF2B5EF4-FFF2-40B4-BE49-F238E27FC236}">
                  <a16:creationId xmlns:a16="http://schemas.microsoft.com/office/drawing/2014/main" id="{F7848B7E-08D0-410A-A21E-5BAA040E25F7}"/>
                </a:ext>
              </a:extLst>
            </p:cNvPr>
            <p:cNvSpPr/>
            <p:nvPr/>
          </p:nvSpPr>
          <p:spPr>
            <a:xfrm>
              <a:off x="5040780" y="2718027"/>
              <a:ext cx="1990333"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Pocket price</a:t>
              </a:r>
            </a:p>
          </p:txBody>
        </p:sp>
        <p:sp>
          <p:nvSpPr>
            <p:cNvPr id="28" name="Rectangle 27">
              <a:extLst>
                <a:ext uri="{FF2B5EF4-FFF2-40B4-BE49-F238E27FC236}">
                  <a16:creationId xmlns:a16="http://schemas.microsoft.com/office/drawing/2014/main" id="{A77BBAED-4097-4D66-88DC-A0C748AF6E21}"/>
                </a:ext>
              </a:extLst>
            </p:cNvPr>
            <p:cNvSpPr/>
            <p:nvPr/>
          </p:nvSpPr>
          <p:spPr>
            <a:xfrm>
              <a:off x="7519386" y="2363780"/>
              <a:ext cx="4467075"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Net Price per unit </a:t>
              </a:r>
            </a:p>
          </p:txBody>
        </p:sp>
        <p:sp>
          <p:nvSpPr>
            <p:cNvPr id="31" name="Rectangle 30">
              <a:extLst>
                <a:ext uri="{FF2B5EF4-FFF2-40B4-BE49-F238E27FC236}">
                  <a16:creationId xmlns:a16="http://schemas.microsoft.com/office/drawing/2014/main" id="{D5D87043-3A14-4974-81B8-1AE9FBE55481}"/>
                </a:ext>
              </a:extLst>
            </p:cNvPr>
            <p:cNvSpPr/>
            <p:nvPr/>
          </p:nvSpPr>
          <p:spPr>
            <a:xfrm>
              <a:off x="7519386" y="3055949"/>
              <a:ext cx="4467075" cy="553576"/>
            </a:xfrm>
            <a:prstGeom prst="rect">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95000"/>
                      <a:lumOff val="5000"/>
                    </a:prstClr>
                  </a:solidFill>
                  <a:effectLst/>
                  <a:uLnTx/>
                  <a:uFillTx/>
                  <a:latin typeface="Lato Light" panose="020F0502020204030203" pitchFamily="34" charset="0"/>
                  <a:ea typeface="Lato Light" panose="020F0502020204030203" pitchFamily="34" charset="0"/>
                  <a:cs typeface="Lato Light" panose="020F0502020204030203" pitchFamily="34" charset="0"/>
                </a:rPr>
                <a:t>List price per unit </a:t>
              </a:r>
            </a:p>
          </p:txBody>
        </p:sp>
      </p:grpSp>
      <p:pic>
        <p:nvPicPr>
          <p:cNvPr id="7" name="Picture 6">
            <a:extLst>
              <a:ext uri="{FF2B5EF4-FFF2-40B4-BE49-F238E27FC236}">
                <a16:creationId xmlns:a16="http://schemas.microsoft.com/office/drawing/2014/main" id="{75C149F0-0322-48DF-B5B5-D9396C2A7C7E}"/>
              </a:ext>
            </a:extLst>
          </p:cNvPr>
          <p:cNvPicPr>
            <a:picLocks noChangeAspect="1"/>
          </p:cNvPicPr>
          <p:nvPr/>
        </p:nvPicPr>
        <p:blipFill>
          <a:blip r:embed="rId3"/>
          <a:stretch>
            <a:fillRect/>
          </a:stretch>
        </p:blipFill>
        <p:spPr>
          <a:xfrm>
            <a:off x="205540" y="3974605"/>
            <a:ext cx="4475822" cy="2399802"/>
          </a:xfrm>
          <a:prstGeom prst="rect">
            <a:avLst/>
          </a:prstGeom>
        </p:spPr>
      </p:pic>
      <p:sp>
        <p:nvSpPr>
          <p:cNvPr id="29" name="TextBox 28">
            <a:extLst>
              <a:ext uri="{FF2B5EF4-FFF2-40B4-BE49-F238E27FC236}">
                <a16:creationId xmlns:a16="http://schemas.microsoft.com/office/drawing/2014/main" id="{C23223B0-363A-9FAA-8B7B-A05C4D8266E9}"/>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Marketing Metrics : Key performance Indicators </a:t>
            </a:r>
          </a:p>
        </p:txBody>
      </p:sp>
      <p:sp>
        <p:nvSpPr>
          <p:cNvPr id="32" name="TextBox 31">
            <a:extLst>
              <a:ext uri="{FF2B5EF4-FFF2-40B4-BE49-F238E27FC236}">
                <a16:creationId xmlns:a16="http://schemas.microsoft.com/office/drawing/2014/main" id="{6948F270-B869-9212-88BE-003C1EB670DF}"/>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282442100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74F001-FFD3-BC29-F928-2438D3530DC3}"/>
              </a:ext>
            </a:extLst>
          </p:cNvPr>
          <p:cNvSpPr txBox="1"/>
          <p:nvPr/>
        </p:nvSpPr>
        <p:spPr>
          <a:xfrm>
            <a:off x="1963703" y="3024811"/>
            <a:ext cx="5918826"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Recommendations </a:t>
            </a:r>
          </a:p>
        </p:txBody>
      </p:sp>
      <p:graphicFrame>
        <p:nvGraphicFramePr>
          <p:cNvPr id="4" name="Table 5">
            <a:extLst>
              <a:ext uri="{FF2B5EF4-FFF2-40B4-BE49-F238E27FC236}">
                <a16:creationId xmlns:a16="http://schemas.microsoft.com/office/drawing/2014/main" id="{CCCE719E-2CDF-2DD1-59C7-EB18206FC1CC}"/>
              </a:ext>
            </a:extLst>
          </p:cNvPr>
          <p:cNvGraphicFramePr>
            <a:graphicFrameLocks noGrp="1"/>
          </p:cNvGraphicFramePr>
          <p:nvPr/>
        </p:nvGraphicFramePr>
        <p:xfrm>
          <a:off x="7314061" y="59116"/>
          <a:ext cx="4773411" cy="6629400"/>
        </p:xfrm>
        <a:graphic>
          <a:graphicData uri="http://schemas.openxmlformats.org/drawingml/2006/table">
            <a:tbl>
              <a:tblPr firstRow="1" bandRow="1">
                <a:tableStyleId>{5C22544A-7EE6-4342-B048-85BDC9FD1C3A}</a:tableStyleId>
              </a:tblPr>
              <a:tblGrid>
                <a:gridCol w="1011451">
                  <a:extLst>
                    <a:ext uri="{9D8B030D-6E8A-4147-A177-3AD203B41FA5}">
                      <a16:colId xmlns:a16="http://schemas.microsoft.com/office/drawing/2014/main" val="250726202"/>
                    </a:ext>
                  </a:extLst>
                </a:gridCol>
                <a:gridCol w="2849646">
                  <a:extLst>
                    <a:ext uri="{9D8B030D-6E8A-4147-A177-3AD203B41FA5}">
                      <a16:colId xmlns:a16="http://schemas.microsoft.com/office/drawing/2014/main" val="2361609606"/>
                    </a:ext>
                  </a:extLst>
                </a:gridCol>
                <a:gridCol w="912314">
                  <a:extLst>
                    <a:ext uri="{9D8B030D-6E8A-4147-A177-3AD203B41FA5}">
                      <a16:colId xmlns:a16="http://schemas.microsoft.com/office/drawing/2014/main" val="4003720094"/>
                    </a:ext>
                  </a:extLst>
                </a:gridCol>
              </a:tblGrid>
              <a:tr h="215353">
                <a:tc gridSpan="2">
                  <a:txBody>
                    <a:bodyPr/>
                    <a:lstStyle/>
                    <a:p>
                      <a:r>
                        <a:rPr lang="en-GB" sz="900" dirty="0"/>
                        <a:t>Summary </a:t>
                      </a:r>
                    </a:p>
                  </a:txBody>
                  <a:tcPr>
                    <a:solidFill>
                      <a:srgbClr val="DB5000"/>
                    </a:solidFill>
                  </a:tcPr>
                </a:tc>
                <a:tc hMerge="1">
                  <a:txBody>
                    <a:bodyPr/>
                    <a:lstStyle/>
                    <a:p>
                      <a:endParaRPr lang="en-GB" dirty="0"/>
                    </a:p>
                  </a:txBody>
                  <a:tcPr>
                    <a:solidFill>
                      <a:srgbClr val="DB5000"/>
                    </a:solidFill>
                  </a:tcPr>
                </a:tc>
                <a:tc>
                  <a:txBody>
                    <a:bodyPr/>
                    <a:lstStyle/>
                    <a:p>
                      <a:r>
                        <a:rPr lang="en-GB" sz="900" dirty="0"/>
                        <a:t>Page No</a:t>
                      </a:r>
                    </a:p>
                  </a:txBody>
                  <a:tcPr>
                    <a:solidFill>
                      <a:srgbClr val="DB5000"/>
                    </a:solidFill>
                  </a:tcPr>
                </a:tc>
                <a:extLst>
                  <a:ext uri="{0D108BD9-81ED-4DB2-BD59-A6C34878D82A}">
                    <a16:rowId xmlns:a16="http://schemas.microsoft.com/office/drawing/2014/main" val="1379040451"/>
                  </a:ext>
                </a:extLst>
              </a:tr>
              <a:tr h="200061">
                <a:tc>
                  <a:txBody>
                    <a:bodyPr/>
                    <a:lstStyle/>
                    <a:p>
                      <a:r>
                        <a:rPr lang="en-GB" sz="900" b="1" dirty="0">
                          <a:solidFill>
                            <a:schemeClr val="bg1"/>
                          </a:solidFill>
                          <a:latin typeface="Lato Long"/>
                        </a:rPr>
                        <a:t>1.0</a:t>
                      </a:r>
                    </a:p>
                  </a:txBody>
                  <a:tcPr>
                    <a:solidFill>
                      <a:srgbClr val="3984A3"/>
                    </a:solidFill>
                  </a:tcPr>
                </a:tc>
                <a:tc>
                  <a:txBody>
                    <a:bodyPr/>
                    <a:lstStyle/>
                    <a:p>
                      <a:r>
                        <a:rPr lang="en-GB" sz="900" b="1" dirty="0">
                          <a:solidFill>
                            <a:schemeClr val="bg1"/>
                          </a:solidFill>
                          <a:latin typeface="Lato Long"/>
                        </a:rPr>
                        <a:t>Summary </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88537191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Corporate Objectives and Mission Statement</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142382326"/>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lgn="l" defTabSz="914400" rtl="0" eaLnBrk="1" latinLnBrk="0" hangingPunct="1">
                        <a:buFont typeface="Arial" panose="020B0604020202020204" pitchFamily="34" charset="0"/>
                        <a:buNone/>
                      </a:pPr>
                      <a:r>
                        <a:rPr lang="en-GB" sz="900" kern="1200" dirty="0">
                          <a:solidFill>
                            <a:schemeClr val="tx1">
                              <a:lumMod val="95000"/>
                              <a:lumOff val="5000"/>
                            </a:schemeClr>
                          </a:solidFill>
                          <a:latin typeface="Lato Long"/>
                          <a:ea typeface="+mn-ea"/>
                          <a:cs typeface="+mn-cs"/>
                        </a:rPr>
                        <a:t>Market specific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30397707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ategory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43845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ustomer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98471869"/>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Channel Overview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9018709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Key Opportunities identified (B2B &amp; B2C)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27244981"/>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kern="1200" dirty="0">
                          <a:solidFill>
                            <a:schemeClr val="tx1">
                              <a:lumMod val="95000"/>
                              <a:lumOff val="5000"/>
                            </a:schemeClr>
                          </a:solidFill>
                          <a:latin typeface="Lato Long"/>
                          <a:ea typeface="+mn-ea"/>
                          <a:cs typeface="+mn-cs"/>
                        </a:rPr>
                        <a:t>Priority Categories and Brand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56631578"/>
                  </a:ext>
                </a:extLst>
              </a:tr>
              <a:tr h="200061">
                <a:tc>
                  <a:txBody>
                    <a:bodyPr/>
                    <a:lstStyle/>
                    <a:p>
                      <a:r>
                        <a:rPr lang="en-GB" sz="900" dirty="0">
                          <a:solidFill>
                            <a:schemeClr val="bg1"/>
                          </a:solidFill>
                          <a:latin typeface="Lato Long"/>
                        </a:rPr>
                        <a:t>2.0</a:t>
                      </a:r>
                    </a:p>
                  </a:txBody>
                  <a:tcPr>
                    <a:solidFill>
                      <a:srgbClr val="3984A3"/>
                    </a:solidFill>
                  </a:tcPr>
                </a:tc>
                <a:tc>
                  <a:txBody>
                    <a:bodyPr/>
                    <a:lstStyle/>
                    <a:p>
                      <a:r>
                        <a:rPr lang="en-GB" sz="900" b="1" dirty="0">
                          <a:solidFill>
                            <a:schemeClr val="bg1"/>
                          </a:solidFill>
                          <a:latin typeface="Lato Long"/>
                        </a:rPr>
                        <a:t>Analysi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556882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Market sizing / Channel Sizing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40030120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Key Channels and Customer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6251086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petitive analysis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90474312"/>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Opportunities and threat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191416563"/>
                  </a:ext>
                </a:extLst>
              </a:tr>
              <a:tr h="200061">
                <a:tc>
                  <a:txBody>
                    <a:bodyPr/>
                    <a:lstStyle/>
                    <a:p>
                      <a:r>
                        <a:rPr lang="en-GB" sz="900" dirty="0">
                          <a:solidFill>
                            <a:schemeClr val="bg1"/>
                          </a:solidFill>
                          <a:latin typeface="Lato Long"/>
                        </a:rPr>
                        <a:t>3.0</a:t>
                      </a:r>
                    </a:p>
                  </a:txBody>
                  <a:tcPr>
                    <a:solidFill>
                      <a:srgbClr val="3984A3"/>
                    </a:solidFill>
                  </a:tcPr>
                </a:tc>
                <a:tc>
                  <a:txBody>
                    <a:bodyPr/>
                    <a:lstStyle/>
                    <a:p>
                      <a:r>
                        <a:rPr lang="en-GB" sz="900" b="1" dirty="0">
                          <a:solidFill>
                            <a:schemeClr val="bg1"/>
                          </a:solidFill>
                          <a:latin typeface="Lato Long"/>
                        </a:rPr>
                        <a:t>Resource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5146695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Human resource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3108314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POS Resource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451146048"/>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Investments plan </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232402442"/>
                  </a:ext>
                </a:extLst>
              </a:tr>
              <a:tr h="200061">
                <a:tc>
                  <a:txBody>
                    <a:bodyPr/>
                    <a:lstStyle/>
                    <a:p>
                      <a:r>
                        <a:rPr lang="en-GB" sz="900" dirty="0">
                          <a:solidFill>
                            <a:schemeClr val="bg1"/>
                          </a:solidFill>
                          <a:latin typeface="Lato Long"/>
                        </a:rPr>
                        <a:t>4.0</a:t>
                      </a:r>
                    </a:p>
                  </a:txBody>
                  <a:tcPr>
                    <a:solidFill>
                      <a:srgbClr val="3984A3"/>
                    </a:solidFill>
                  </a:tcPr>
                </a:tc>
                <a:tc>
                  <a:txBody>
                    <a:bodyPr/>
                    <a:lstStyle/>
                    <a:p>
                      <a:r>
                        <a:rPr lang="en-GB" sz="900" b="1" dirty="0">
                          <a:solidFill>
                            <a:schemeClr val="bg1"/>
                          </a:solidFill>
                          <a:latin typeface="Lato Long"/>
                        </a:rPr>
                        <a:t>Tactics</a:t>
                      </a:r>
                    </a:p>
                  </a:txBody>
                  <a:tcPr>
                    <a:solidFill>
                      <a:srgbClr val="3984A3"/>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701312479"/>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75000"/>
                              <a:lumOff val="25000"/>
                            </a:schemeClr>
                          </a:solidFill>
                          <a:latin typeface="Lato Long"/>
                        </a:rPr>
                        <a:t>Brands channels and tactic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6304355"/>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Branding Plans</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315008497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lvl="0" indent="0">
                        <a:buFont typeface="Arial" panose="020B0604020202020204" pitchFamily="34" charset="0"/>
                        <a:buNone/>
                      </a:pPr>
                      <a:r>
                        <a:rPr lang="en-GB" sz="900" dirty="0">
                          <a:solidFill>
                            <a:schemeClr val="tx1">
                              <a:lumMod val="75000"/>
                              <a:lumOff val="25000"/>
                            </a:schemeClr>
                          </a:solidFill>
                          <a:latin typeface="Lato Long"/>
                        </a:rPr>
                        <a:t>Communication Plans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908533433"/>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POS Plan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102857004"/>
                  </a:ext>
                </a:extLst>
              </a:tr>
              <a:tr h="200061">
                <a:tc>
                  <a:txBody>
                    <a:bodyPr/>
                    <a:lstStyle/>
                    <a:p>
                      <a:endParaRPr lang="en-GB" sz="900" dirty="0">
                        <a:solidFill>
                          <a:schemeClr val="bg1"/>
                        </a:solidFill>
                        <a:latin typeface="Lato Long"/>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chemeClr val="tx1">
                              <a:lumMod val="75000"/>
                              <a:lumOff val="25000"/>
                            </a:schemeClr>
                          </a:solidFill>
                          <a:latin typeface="Lato Long"/>
                        </a:rPr>
                        <a:t>High level tactical calendar </a:t>
                      </a:r>
                      <a:endParaRPr lang="en-GB" sz="900" dirty="0">
                        <a:solidFill>
                          <a:schemeClr val="tx1">
                            <a:lumMod val="95000"/>
                            <a:lumOff val="5000"/>
                          </a:schemeClr>
                        </a:solidFill>
                        <a:latin typeface="Lato Long"/>
                      </a:endParaRP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223390391"/>
                  </a:ext>
                </a:extLst>
              </a:tr>
              <a:tr h="200061">
                <a:tc>
                  <a:txBody>
                    <a:bodyPr/>
                    <a:lstStyle/>
                    <a:p>
                      <a:r>
                        <a:rPr lang="en-GB" sz="900" b="1" dirty="0">
                          <a:solidFill>
                            <a:schemeClr val="bg1"/>
                          </a:solidFill>
                          <a:latin typeface="Lato Long"/>
                        </a:rPr>
                        <a:t>5.0</a:t>
                      </a:r>
                    </a:p>
                  </a:txBody>
                  <a:tcPr>
                    <a:solidFill>
                      <a:schemeClr val="accent1"/>
                    </a:solidFill>
                  </a:tcPr>
                </a:tc>
                <a:tc>
                  <a:txBody>
                    <a:bodyPr/>
                    <a:lstStyle/>
                    <a:p>
                      <a:r>
                        <a:rPr lang="en-GB" sz="900" b="1" dirty="0">
                          <a:solidFill>
                            <a:schemeClr val="bg1"/>
                          </a:solidFill>
                          <a:latin typeface="Lato Long"/>
                        </a:rPr>
                        <a:t>P&amp;L</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703129503"/>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P&amp;L</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05752941"/>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Marketing ROI and Ratio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7789640"/>
                  </a:ext>
                </a:extLst>
              </a:tr>
              <a:tr h="200061">
                <a:tc>
                  <a:txBody>
                    <a:bodyPr/>
                    <a:lstStyle/>
                    <a:p>
                      <a:r>
                        <a:rPr lang="en-GB" sz="900" b="1" dirty="0">
                          <a:solidFill>
                            <a:schemeClr val="bg1"/>
                          </a:solidFill>
                          <a:latin typeface="Lato Long"/>
                        </a:rPr>
                        <a:t>6.0</a:t>
                      </a:r>
                    </a:p>
                  </a:txBody>
                  <a:tcPr>
                    <a:solidFill>
                      <a:schemeClr val="accent1"/>
                    </a:solidFill>
                  </a:tcPr>
                </a:tc>
                <a:tc>
                  <a:txBody>
                    <a:bodyPr/>
                    <a:lstStyle/>
                    <a:p>
                      <a:r>
                        <a:rPr lang="en-GB" sz="900" b="1" dirty="0">
                          <a:solidFill>
                            <a:schemeClr val="bg1"/>
                          </a:solidFill>
                          <a:latin typeface="Lato Long"/>
                        </a:rPr>
                        <a:t>Conclusions </a:t>
                      </a:r>
                    </a:p>
                  </a:txBody>
                  <a:tcPr>
                    <a:solidFill>
                      <a:schemeClr val="accent1"/>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4272979437"/>
                  </a:ext>
                </a:extLst>
              </a:tr>
              <a:tr h="200061">
                <a:tc>
                  <a:txBody>
                    <a:bodyPr/>
                    <a:lstStyle/>
                    <a:p>
                      <a:endParaRPr lang="en-GB" sz="900" dirty="0">
                        <a:solidFill>
                          <a:schemeClr val="bg1"/>
                        </a:solidFill>
                        <a:latin typeface="Lato Long"/>
                      </a:endParaRPr>
                    </a:p>
                  </a:txBody>
                  <a:tcPr>
                    <a:solidFill>
                      <a:schemeClr val="bg1"/>
                    </a:solidFill>
                  </a:tcPr>
                </a:tc>
                <a:tc>
                  <a:txBody>
                    <a:bodyPr/>
                    <a:lstStyle/>
                    <a:p>
                      <a:r>
                        <a:rPr lang="en-GB" sz="900" dirty="0">
                          <a:solidFill>
                            <a:schemeClr val="tx1">
                              <a:lumMod val="95000"/>
                              <a:lumOff val="5000"/>
                            </a:schemeClr>
                          </a:solidFill>
                          <a:latin typeface="Lato Long"/>
                        </a:rPr>
                        <a:t>Recommendations and Reviews</a:t>
                      </a:r>
                    </a:p>
                  </a:txBody>
                  <a:tcPr>
                    <a:solidFill>
                      <a:srgbClr val="99C8DB"/>
                    </a:solidFill>
                  </a:tcPr>
                </a:tc>
                <a:tc>
                  <a:txBody>
                    <a:bodyPr/>
                    <a:lstStyle/>
                    <a:p>
                      <a:endParaRPr lang="en-GB" sz="900" dirty="0"/>
                    </a:p>
                  </a:txBody>
                  <a:tcPr>
                    <a:solidFill>
                      <a:schemeClr val="bg1">
                        <a:lumMod val="95000"/>
                      </a:schemeClr>
                    </a:solidFill>
                  </a:tcPr>
                </a:tc>
                <a:extLst>
                  <a:ext uri="{0D108BD9-81ED-4DB2-BD59-A6C34878D82A}">
                    <a16:rowId xmlns:a16="http://schemas.microsoft.com/office/drawing/2014/main" val="286498152"/>
                  </a:ext>
                </a:extLst>
              </a:tr>
            </a:tbl>
          </a:graphicData>
        </a:graphic>
      </p:graphicFrame>
      <p:sp>
        <p:nvSpPr>
          <p:cNvPr id="5" name="TextBox 4">
            <a:extLst>
              <a:ext uri="{FF2B5EF4-FFF2-40B4-BE49-F238E27FC236}">
                <a16:creationId xmlns:a16="http://schemas.microsoft.com/office/drawing/2014/main" id="{EC9155F1-2562-03B1-B32E-C233255E5062}"/>
              </a:ext>
            </a:extLst>
          </p:cNvPr>
          <p:cNvSpPr txBox="1"/>
          <p:nvPr/>
        </p:nvSpPr>
        <p:spPr>
          <a:xfrm>
            <a:off x="268941" y="207845"/>
            <a:ext cx="7951327" cy="523220"/>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p:txBody>
      </p:sp>
      <p:sp>
        <p:nvSpPr>
          <p:cNvPr id="6" name="TextBox 5">
            <a:extLst>
              <a:ext uri="{FF2B5EF4-FFF2-40B4-BE49-F238E27FC236}">
                <a16:creationId xmlns:a16="http://schemas.microsoft.com/office/drawing/2014/main" id="{B8525215-8F3A-8636-DD23-715864738042}"/>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8358950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Logo&#10;&#10;Description automatically generated">
            <a:extLst>
              <a:ext uri="{FF2B5EF4-FFF2-40B4-BE49-F238E27FC236}">
                <a16:creationId xmlns:a16="http://schemas.microsoft.com/office/drawing/2014/main" id="{77D07F80-6653-217E-7808-5A81A16EEF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13506" y="150636"/>
            <a:ext cx="1572955" cy="366106"/>
          </a:xfrm>
          <a:prstGeom prst="rect">
            <a:avLst/>
          </a:prstGeom>
        </p:spPr>
      </p:pic>
      <p:sp>
        <p:nvSpPr>
          <p:cNvPr id="3" name="TextBox 2">
            <a:extLst>
              <a:ext uri="{FF2B5EF4-FFF2-40B4-BE49-F238E27FC236}">
                <a16:creationId xmlns:a16="http://schemas.microsoft.com/office/drawing/2014/main" id="{DB43095B-41E4-8EE4-349D-C60111299327}"/>
              </a:ext>
            </a:extLst>
          </p:cNvPr>
          <p:cNvSpPr txBox="1"/>
          <p:nvPr/>
        </p:nvSpPr>
        <p:spPr>
          <a:xfrm>
            <a:off x="268941" y="207845"/>
            <a:ext cx="7951327" cy="746423"/>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a:t>
            </a:r>
            <a:endPar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15 Recommendations</a:t>
            </a:r>
          </a:p>
        </p:txBody>
      </p:sp>
      <p:sp>
        <p:nvSpPr>
          <p:cNvPr id="4" name="TextBox 3">
            <a:extLst>
              <a:ext uri="{FF2B5EF4-FFF2-40B4-BE49-F238E27FC236}">
                <a16:creationId xmlns:a16="http://schemas.microsoft.com/office/drawing/2014/main" id="{0487E37D-4F67-F252-83CB-BDE3563DED2B}"/>
              </a:ext>
            </a:extLst>
          </p:cNvPr>
          <p:cNvSpPr txBox="1"/>
          <p:nvPr/>
        </p:nvSpPr>
        <p:spPr>
          <a:xfrm>
            <a:off x="4937760" y="6581001"/>
            <a:ext cx="25146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pic>
        <p:nvPicPr>
          <p:cNvPr id="1026" name="Picture 2" descr="Outline Global business  icon">
            <a:extLst>
              <a:ext uri="{FF2B5EF4-FFF2-40B4-BE49-F238E27FC236}">
                <a16:creationId xmlns:a16="http://schemas.microsoft.com/office/drawing/2014/main" id="{5954C22E-B4D5-4F3A-7470-B86F37B414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0668" y="3352798"/>
            <a:ext cx="952500" cy="952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2E9DBE41-FC48-E24C-E6F0-93DA11E8A33A}"/>
              </a:ext>
            </a:extLst>
          </p:cNvPr>
          <p:cNvSpPr txBox="1"/>
          <p:nvPr/>
        </p:nvSpPr>
        <p:spPr>
          <a:xfrm>
            <a:off x="2849034" y="1227667"/>
            <a:ext cx="8077200" cy="4708981"/>
          </a:xfrm>
          <a:prstGeom prst="rect">
            <a:avLst/>
          </a:prstGeom>
          <a:noFill/>
        </p:spPr>
        <p:txBody>
          <a:bodyPr wrap="square" rtlCol="0">
            <a:spAutoFit/>
          </a:bodyPr>
          <a:lstStyle/>
          <a:p>
            <a:pPr marL="342900" indent="-342900">
              <a:buFont typeface="+mj-lt"/>
              <a:buAutoNum type="arabicPeriod"/>
            </a:pPr>
            <a:r>
              <a:rPr lang="en-GB" sz="1200" b="1" i="1" dirty="0">
                <a:latin typeface="Lato Long"/>
              </a:rPr>
              <a:t>Remember, brand marketing talks to the customer , and trade marketing talks with the customer</a:t>
            </a:r>
          </a:p>
          <a:p>
            <a:pPr marL="342900" indent="-342900">
              <a:buFont typeface="+mj-lt"/>
              <a:buAutoNum type="arabicPeriod"/>
            </a:pPr>
            <a:r>
              <a:rPr lang="en-GB" sz="1200" i="1" dirty="0">
                <a:latin typeface="Lato Long"/>
              </a:rPr>
              <a:t>Trade marketing is both an art and a science , choose the right individuals , base it on sound principles and clear objectives.</a:t>
            </a:r>
          </a:p>
          <a:p>
            <a:pPr marL="342900" indent="-342900">
              <a:buFont typeface="+mj-lt"/>
              <a:buAutoNum type="arabicPeriod"/>
            </a:pPr>
            <a:r>
              <a:rPr lang="en-GB" sz="1200" i="1" dirty="0">
                <a:latin typeface="Lato Long"/>
              </a:rPr>
              <a:t>Build multiple relationships across functions , accounts and suppliers.</a:t>
            </a:r>
          </a:p>
          <a:p>
            <a:pPr marL="342900" indent="-342900">
              <a:buFont typeface="+mj-lt"/>
              <a:buAutoNum type="arabicPeriod"/>
            </a:pPr>
            <a:r>
              <a:rPr lang="en-GB" sz="1200" i="1" dirty="0">
                <a:latin typeface="Lato Long"/>
              </a:rPr>
              <a:t>Use analytics to build your engagement and plans as the focus engagement becomes clearer</a:t>
            </a:r>
          </a:p>
          <a:p>
            <a:pPr marL="342900" indent="-342900">
              <a:buFont typeface="+mj-lt"/>
              <a:buAutoNum type="arabicPeriod"/>
            </a:pPr>
            <a:r>
              <a:rPr lang="en-GB" sz="1200" i="1" dirty="0">
                <a:latin typeface="Lato Long"/>
              </a:rPr>
              <a:t>Build on external vendor relationships to deliver superior TM products for your business</a:t>
            </a:r>
          </a:p>
          <a:p>
            <a:pPr marL="342900" indent="-342900">
              <a:buFont typeface="+mj-lt"/>
              <a:buAutoNum type="arabicPeriod"/>
            </a:pPr>
            <a:r>
              <a:rPr lang="en-GB" sz="1200" i="1" dirty="0">
                <a:latin typeface="Lato Long"/>
              </a:rPr>
              <a:t>No two accounts are the same , their needs are always different , spend time understanding them.</a:t>
            </a:r>
          </a:p>
          <a:p>
            <a:pPr marL="342900" indent="-342900">
              <a:buFont typeface="+mj-lt"/>
              <a:buAutoNum type="arabicPeriod"/>
            </a:pPr>
            <a:r>
              <a:rPr lang="en-GB" sz="1200" i="1" dirty="0">
                <a:latin typeface="Lato Long"/>
              </a:rPr>
              <a:t>Alignment is key , align the TM function to clear objectives driven by identified businesses with clearly positioned requirements.</a:t>
            </a:r>
          </a:p>
          <a:p>
            <a:pPr marL="342900" indent="-342900">
              <a:buFont typeface="+mj-lt"/>
              <a:buAutoNum type="arabicPeriod"/>
            </a:pPr>
            <a:r>
              <a:rPr lang="en-GB" sz="1200" i="1" dirty="0">
                <a:latin typeface="Lato Long"/>
              </a:rPr>
              <a:t>Sales &amp; Trade Marketing are clearly different functions , do not mix them but align them instead.</a:t>
            </a:r>
          </a:p>
          <a:p>
            <a:pPr marL="342900" indent="-342900">
              <a:buFont typeface="+mj-lt"/>
              <a:buAutoNum type="arabicPeriod"/>
            </a:pPr>
            <a:r>
              <a:rPr lang="en-GB" sz="1200" i="1" dirty="0">
                <a:latin typeface="Lato Long"/>
              </a:rPr>
              <a:t>The Skill set for both functions are clearly different , therefore the planning and execution must be based on clear fundamentals and insights.</a:t>
            </a:r>
          </a:p>
          <a:p>
            <a:pPr marL="342900" indent="-342900">
              <a:buFont typeface="+mj-lt"/>
              <a:buAutoNum type="arabicPeriod"/>
            </a:pPr>
            <a:r>
              <a:rPr lang="en-GB" sz="1200" i="1" dirty="0">
                <a:latin typeface="Lato Long"/>
              </a:rPr>
              <a:t>Sales is a driver function ; your organisation must develop a view as to what the role of TM as a function is.</a:t>
            </a:r>
          </a:p>
          <a:p>
            <a:pPr marL="342900" indent="-342900">
              <a:buFont typeface="+mj-lt"/>
              <a:buAutoNum type="arabicPeriod"/>
            </a:pPr>
            <a:r>
              <a:rPr lang="en-GB" sz="1200" i="1" dirty="0">
                <a:latin typeface="Lato Long"/>
              </a:rPr>
              <a:t>The Sales cycle may turn around relatively fast whereas the TM planning and execution cycle is based on many areas of engagement , clear planning and execution cycles will go a long way to building confidence and competence</a:t>
            </a:r>
          </a:p>
          <a:p>
            <a:pPr marL="342900" indent="-342900">
              <a:buFont typeface="+mj-lt"/>
              <a:buAutoNum type="arabicPeriod"/>
            </a:pPr>
            <a:r>
              <a:rPr lang="en-GB" sz="1200" i="1" dirty="0">
                <a:latin typeface="Lato Long"/>
              </a:rPr>
              <a:t>The mindset and the level of engagement of both sales and TM will differ, rightly so, and that is what will keep the differentiation also.</a:t>
            </a:r>
          </a:p>
          <a:p>
            <a:pPr marL="342900" indent="-342900">
              <a:buFont typeface="+mj-lt"/>
              <a:buAutoNum type="arabicPeriod"/>
            </a:pPr>
            <a:r>
              <a:rPr lang="en-GB" sz="1200" i="1" dirty="0">
                <a:latin typeface="Lato Long"/>
              </a:rPr>
              <a:t>Analysis , Planning and execution are 3 important areas of TM , these are the engagement standards you will want to ensure are constant.</a:t>
            </a:r>
          </a:p>
          <a:p>
            <a:pPr marL="342900" indent="-342900">
              <a:buFont typeface="+mj-lt"/>
              <a:buAutoNum type="arabicPeriod"/>
            </a:pPr>
            <a:r>
              <a:rPr lang="en-GB" sz="1200" i="1" dirty="0">
                <a:latin typeface="Lato Long"/>
              </a:rPr>
              <a:t>Account relationships are key , encourage your sales and TM teams to engage frequently both in the field and in the customers presence to listen in and understand customers and categories more.</a:t>
            </a:r>
          </a:p>
          <a:p>
            <a:pPr marL="342900" indent="-342900">
              <a:buFont typeface="+mj-lt"/>
              <a:buAutoNum type="arabicPeriod"/>
            </a:pPr>
            <a:r>
              <a:rPr lang="en-GB" sz="1200" i="1" dirty="0">
                <a:latin typeface="Lato Long"/>
              </a:rPr>
              <a:t>TM engagement with Brand Marketing is crucial , this is the point where the overall brand strategy is conveyed and executed in smaller forms across a larger area of customer and consumer engagement.</a:t>
            </a:r>
          </a:p>
          <a:p>
            <a:r>
              <a:rPr lang="en-GB" sz="1200" i="1" dirty="0">
                <a:latin typeface="Lato Long"/>
              </a:rPr>
              <a:t> </a:t>
            </a:r>
          </a:p>
        </p:txBody>
      </p:sp>
      <p:pic>
        <p:nvPicPr>
          <p:cNvPr id="7" name="Picture 6" descr="A line drawing of men looking at a computer&#10;&#10;Description automatically generated">
            <a:extLst>
              <a:ext uri="{FF2B5EF4-FFF2-40B4-BE49-F238E27FC236}">
                <a16:creationId xmlns:a16="http://schemas.microsoft.com/office/drawing/2014/main" id="{FF52D212-A6C1-6FE7-5C23-FF7529E64C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1884" y="2326640"/>
            <a:ext cx="1170432" cy="731520"/>
          </a:xfrm>
          <a:prstGeom prst="rect">
            <a:avLst/>
          </a:prstGeom>
        </p:spPr>
      </p:pic>
      <p:pic>
        <p:nvPicPr>
          <p:cNvPr id="9" name="Picture 8" descr="A person pointing at a flipchart&#10;&#10;Description automatically generated">
            <a:extLst>
              <a:ext uri="{FF2B5EF4-FFF2-40B4-BE49-F238E27FC236}">
                <a16:creationId xmlns:a16="http://schemas.microsoft.com/office/drawing/2014/main" id="{25B54E45-368C-903C-6E83-E798C7B96E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07989" y="2415540"/>
            <a:ext cx="1008888" cy="731520"/>
          </a:xfrm>
          <a:prstGeom prst="rect">
            <a:avLst/>
          </a:prstGeom>
        </p:spPr>
      </p:pic>
      <p:pic>
        <p:nvPicPr>
          <p:cNvPr id="11" name="Picture 10" descr="A silhouette of a person carrying a shopping basket&#10;&#10;Description automatically generated">
            <a:extLst>
              <a:ext uri="{FF2B5EF4-FFF2-40B4-BE49-F238E27FC236}">
                <a16:creationId xmlns:a16="http://schemas.microsoft.com/office/drawing/2014/main" id="{9A593CEB-7CDD-35FB-1C5F-8658BEED919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88360" y="167641"/>
            <a:ext cx="487680" cy="731520"/>
          </a:xfrm>
          <a:prstGeom prst="rect">
            <a:avLst/>
          </a:prstGeom>
        </p:spPr>
      </p:pic>
      <p:pic>
        <p:nvPicPr>
          <p:cNvPr id="13" name="Picture 12" descr="A person holding a bag of vegetables&#10;&#10;Description automatically generated">
            <a:extLst>
              <a:ext uri="{FF2B5EF4-FFF2-40B4-BE49-F238E27FC236}">
                <a16:creationId xmlns:a16="http://schemas.microsoft.com/office/drawing/2014/main" id="{24AE5B88-8205-D571-88C6-CBB3C91A3FE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5375" y="4329007"/>
            <a:ext cx="1014984" cy="731520"/>
          </a:xfrm>
          <a:prstGeom prst="rect">
            <a:avLst/>
          </a:prstGeom>
        </p:spPr>
      </p:pic>
      <p:pic>
        <p:nvPicPr>
          <p:cNvPr id="15" name="Picture 14" descr="A person and person standing next to a cart&#10;&#10;Description automatically generated">
            <a:extLst>
              <a:ext uri="{FF2B5EF4-FFF2-40B4-BE49-F238E27FC236}">
                <a16:creationId xmlns:a16="http://schemas.microsoft.com/office/drawing/2014/main" id="{C5B4DD1C-D32F-3D9D-B947-083B234FBD1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00294" y="4341707"/>
            <a:ext cx="1097280" cy="731520"/>
          </a:xfrm>
          <a:prstGeom prst="rect">
            <a:avLst/>
          </a:prstGeom>
        </p:spPr>
      </p:pic>
    </p:spTree>
    <p:extLst>
      <p:ext uri="{BB962C8B-B14F-4D97-AF65-F5344CB8AC3E}">
        <p14:creationId xmlns:p14="http://schemas.microsoft.com/office/powerpoint/2010/main" val="40207886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A43227C-05AE-094A-1ABC-90277CD8F89B}"/>
              </a:ext>
            </a:extLst>
          </p:cNvPr>
          <p:cNvSpPr txBox="1"/>
          <p:nvPr/>
        </p:nvSpPr>
        <p:spPr>
          <a:xfrm>
            <a:off x="0" y="3029044"/>
            <a:ext cx="12192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hank you </a:t>
            </a:r>
          </a:p>
        </p:txBody>
      </p:sp>
    </p:spTree>
    <p:extLst>
      <p:ext uri="{BB962C8B-B14F-4D97-AF65-F5344CB8AC3E}">
        <p14:creationId xmlns:p14="http://schemas.microsoft.com/office/powerpoint/2010/main" val="306882982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tomers &amp; Users / Color Wheel">
            <a:extLst>
              <a:ext uri="{FF2B5EF4-FFF2-40B4-BE49-F238E27FC236}">
                <a16:creationId xmlns:a16="http://schemas.microsoft.com/office/drawing/2014/main" id="{235BF9F6-8FB8-4102-B600-1BA25DA75A90}"/>
              </a:ext>
            </a:extLst>
          </p:cNvPr>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398234" y="763404"/>
            <a:ext cx="2839408" cy="189104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Yellow and Black Letter T-letter Blocks">
            <a:extLst>
              <a:ext uri="{FF2B5EF4-FFF2-40B4-BE49-F238E27FC236}">
                <a16:creationId xmlns:a16="http://schemas.microsoft.com/office/drawing/2014/main" id="{B0B09F9C-79B3-4CC7-89A4-00ED763C74F9}"/>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366165" y="4319939"/>
            <a:ext cx="2911852" cy="186695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White and Yellow Dice on Green Surface">
            <a:extLst>
              <a:ext uri="{FF2B5EF4-FFF2-40B4-BE49-F238E27FC236}">
                <a16:creationId xmlns:a16="http://schemas.microsoft.com/office/drawing/2014/main" id="{05C760EA-A3E9-4BAD-93E9-60A6E1CC9921}"/>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398234" y="4319939"/>
            <a:ext cx="2850294" cy="190471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rayscale Photo of People at Market">
            <a:extLst>
              <a:ext uri="{FF2B5EF4-FFF2-40B4-BE49-F238E27FC236}">
                <a16:creationId xmlns:a16="http://schemas.microsoft.com/office/drawing/2014/main" id="{33360189-70B2-4227-B44B-51871A89BB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1904" y="754717"/>
            <a:ext cx="2911851" cy="190471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Logo&#10;&#10;Description automatically generated">
            <a:extLst>
              <a:ext uri="{FF2B5EF4-FFF2-40B4-BE49-F238E27FC236}">
                <a16:creationId xmlns:a16="http://schemas.microsoft.com/office/drawing/2014/main" id="{07D0B562-11DB-4F24-BB09-D018A7ACE6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7645C8D1-EABD-447B-B8E8-294ED42B53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sp>
        <p:nvSpPr>
          <p:cNvPr id="23" name="Rectangle 22">
            <a:extLst>
              <a:ext uri="{FF2B5EF4-FFF2-40B4-BE49-F238E27FC236}">
                <a16:creationId xmlns:a16="http://schemas.microsoft.com/office/drawing/2014/main" id="{C63B2F05-B9A4-42FA-9DE1-4E4B120E90EB}"/>
              </a:ext>
            </a:extLst>
          </p:cNvPr>
          <p:cNvSpPr/>
          <p:nvPr/>
        </p:nvSpPr>
        <p:spPr>
          <a:xfrm>
            <a:off x="7114140" y="2596903"/>
            <a:ext cx="4574866" cy="193899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UpskilPRO tools are designed in easy-to-use solutions, all you need to do is download the tool and get to work immediately . All UpskilPRO material has taken 100’s of hours and many 1000’s of $ to build , all this expertise and content is brought to you for a fraction of the cost to help professionals enhance their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	core areas which are best suited to improve using our too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Subject matter expertise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Best practices</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Analytical output &amp; charting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ioritization</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ocess</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Train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p:txBody>
      </p:sp>
      <p:sp>
        <p:nvSpPr>
          <p:cNvPr id="49" name="Rectangle 48">
            <a:extLst>
              <a:ext uri="{FF2B5EF4-FFF2-40B4-BE49-F238E27FC236}">
                <a16:creationId xmlns:a16="http://schemas.microsoft.com/office/drawing/2014/main" id="{2595F606-B854-479A-B445-F7B07576866F}"/>
              </a:ext>
            </a:extLst>
          </p:cNvPr>
          <p:cNvSpPr/>
          <p:nvPr/>
        </p:nvSpPr>
        <p:spPr>
          <a:xfrm>
            <a:off x="6426689" y="6003111"/>
            <a:ext cx="5821238"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Tools in one place to get 10X productive now. </a:t>
            </a:r>
          </a:p>
        </p:txBody>
      </p:sp>
      <p:sp>
        <p:nvSpPr>
          <p:cNvPr id="19" name="TextBox 18">
            <a:extLst>
              <a:ext uri="{FF2B5EF4-FFF2-40B4-BE49-F238E27FC236}">
                <a16:creationId xmlns:a16="http://schemas.microsoft.com/office/drawing/2014/main" id="{0FAFB392-4E20-49CF-9184-35A7319B2A1C}"/>
              </a:ext>
            </a:extLst>
          </p:cNvPr>
          <p:cNvSpPr txBox="1"/>
          <p:nvPr/>
        </p:nvSpPr>
        <p:spPr>
          <a:xfrm>
            <a:off x="6278017" y="864932"/>
            <a:ext cx="5913983" cy="830997"/>
          </a:xfrm>
          <a:prstGeom prst="rect">
            <a:avLst/>
          </a:prstGeom>
          <a:noFill/>
        </p:spPr>
        <p:txBody>
          <a:bodyPr wrap="square">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Created by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ex-Procter &amp; Gamble, Rothmans,  BAT, Gillette, Nokia,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Microsoft &amp; 3M managers. </a:t>
            </a:r>
          </a:p>
        </p:txBody>
      </p:sp>
      <p:sp>
        <p:nvSpPr>
          <p:cNvPr id="2" name="Slide Number Placeholder 1">
            <a:extLst>
              <a:ext uri="{FF2B5EF4-FFF2-40B4-BE49-F238E27FC236}">
                <a16:creationId xmlns:a16="http://schemas.microsoft.com/office/drawing/2014/main" id="{263C534D-7CD7-4D0F-89BB-7C9F18C088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8828D9-3E6A-477F-A491-AADAE3613DD2}" type="slidenum">
              <a:rPr kumimoji="0" lang="en-GB" sz="1200" b="0" i="0" u="none" strike="noStrike" kern="1200" cap="none" spc="0" normalizeH="0" baseline="0" noProof="0" smtClean="0">
                <a:ln>
                  <a:noFill/>
                </a:ln>
                <a:solidFill>
                  <a:prstClr val="black">
                    <a:tint val="75000"/>
                  </a:prstClr>
                </a:solidFill>
                <a:effectLst/>
                <a:uLnTx/>
                <a:uFillTx/>
                <a:latin typeface="La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sp>
        <p:nvSpPr>
          <p:cNvPr id="3" name="Rectangle 2">
            <a:extLst>
              <a:ext uri="{FF2B5EF4-FFF2-40B4-BE49-F238E27FC236}">
                <a16:creationId xmlns:a16="http://schemas.microsoft.com/office/drawing/2014/main" id="{6B675A7B-FA23-3F3D-DE18-1C4C9A3A95A2}"/>
              </a:ext>
            </a:extLst>
          </p:cNvPr>
          <p:cNvSpPr/>
          <p:nvPr/>
        </p:nvSpPr>
        <p:spPr>
          <a:xfrm>
            <a:off x="554566" y="3005896"/>
            <a:ext cx="6519333" cy="86177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Making life </a:t>
            </a:r>
            <a:r>
              <a:rPr kumimoji="0" lang="en-US" sz="2800" b="1" i="0" u="none" strike="noStrike" kern="1200" cap="none" spc="0" normalizeH="0" baseline="0" noProof="0" dirty="0">
                <a:ln>
                  <a:noFill/>
                </a:ln>
                <a:solidFill>
                  <a:srgbClr val="EEBA00"/>
                </a:solidFill>
                <a:effectLst/>
                <a:uLnTx/>
                <a:uFillTx/>
                <a:latin typeface="Poppins" panose="00000500000000000000" pitchFamily="2" charset="0"/>
                <a:ea typeface="+mn-ea"/>
                <a:cs typeface="Poppins" panose="00000500000000000000" pitchFamily="2" charset="0"/>
              </a:rPr>
              <a:t>simpler</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91B5"/>
                </a:solidFill>
                <a:effectLst/>
                <a:uLnTx/>
                <a:uFillTx/>
                <a:latin typeface="Poppins" panose="00000500000000000000" pitchFamily="2" charset="0"/>
                <a:ea typeface="+mn-ea"/>
                <a:cs typeface="Poppins" panose="00000500000000000000" pitchFamily="2" charset="0"/>
              </a:rPr>
              <a:t>Sales</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amp; </a:t>
            </a:r>
            <a:r>
              <a:rPr kumimoji="0" lang="en-US" sz="2800" b="1" i="0" u="none" strike="noStrike" kern="1200" cap="none" spc="0" normalizeH="0" baseline="0" noProof="0" dirty="0">
                <a:ln>
                  <a:noFill/>
                </a:ln>
                <a:solidFill>
                  <a:srgbClr val="DB5000"/>
                </a:solidFill>
                <a:effectLst/>
                <a:uLnTx/>
                <a:uFillTx/>
                <a:latin typeface="Poppins" panose="00000500000000000000" pitchFamily="2" charset="0"/>
                <a:ea typeface="+mn-ea"/>
                <a:cs typeface="Poppins" panose="00000500000000000000" pitchFamily="2" charset="0"/>
              </a:rPr>
              <a:t>Marketing</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professionals. </a:t>
            </a:r>
          </a:p>
        </p:txBody>
      </p:sp>
    </p:spTree>
    <p:extLst>
      <p:ext uri="{BB962C8B-B14F-4D97-AF65-F5344CB8AC3E}">
        <p14:creationId xmlns:p14="http://schemas.microsoft.com/office/powerpoint/2010/main" val="30255159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06242F6-CA1E-42FB-BB1A-B13E71A7D987}"/>
              </a:ext>
            </a:extLst>
          </p:cNvPr>
          <p:cNvSpPr/>
          <p:nvPr/>
        </p:nvSpPr>
        <p:spPr>
          <a:xfrm>
            <a:off x="-2286" y="-13209"/>
            <a:ext cx="5760000" cy="6871209"/>
          </a:xfrm>
          <a:prstGeom prst="rect">
            <a:avLst/>
          </a:prstGeom>
          <a:solidFill>
            <a:srgbClr val="3984A3"/>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13" name="TextBox 12">
            <a:extLst>
              <a:ext uri="{FF2B5EF4-FFF2-40B4-BE49-F238E27FC236}">
                <a16:creationId xmlns:a16="http://schemas.microsoft.com/office/drawing/2014/main" id="{E4F23697-1BEC-4F6B-A1E1-CF2064D07358}"/>
              </a:ext>
            </a:extLst>
          </p:cNvPr>
          <p:cNvSpPr txBox="1"/>
          <p:nvPr/>
        </p:nvSpPr>
        <p:spPr>
          <a:xfrm>
            <a:off x="9268286" y="6267597"/>
            <a:ext cx="2923714"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D96800"/>
                </a:solidFill>
                <a:effectLst/>
                <a:uLnTx/>
                <a:uFillTx/>
                <a:latin typeface="Lato Light" panose="020F0502020204030203"/>
                <a:ea typeface="+mn-ea"/>
                <a:cs typeface="+mn-cs"/>
              </a:rPr>
              <a:t>Tools, Content &amp; Templat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Lato Light" panose="020F0502020204030203"/>
                <a:ea typeface="+mn-ea"/>
                <a:cs typeface="+mn-cs"/>
              </a:rPr>
              <a:t>Hand built using experience &amp; insight </a:t>
            </a:r>
          </a:p>
        </p:txBody>
      </p:sp>
      <p:pic>
        <p:nvPicPr>
          <p:cNvPr id="14" name="Picture 13" descr="Logo&#10;&#10;Description automatically generated">
            <a:extLst>
              <a:ext uri="{FF2B5EF4-FFF2-40B4-BE49-F238E27FC236}">
                <a16:creationId xmlns:a16="http://schemas.microsoft.com/office/drawing/2014/main" id="{F4A6D227-4561-4949-BB83-BE740B69EA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09024" y="199287"/>
            <a:ext cx="1601128" cy="372663"/>
          </a:xfrm>
          <a:prstGeom prst="rect">
            <a:avLst/>
          </a:prstGeom>
        </p:spPr>
      </p:pic>
      <p:sp>
        <p:nvSpPr>
          <p:cNvPr id="15" name="TextBox 14">
            <a:extLst>
              <a:ext uri="{FF2B5EF4-FFF2-40B4-BE49-F238E27FC236}">
                <a16:creationId xmlns:a16="http://schemas.microsoft.com/office/drawing/2014/main" id="{50709A3E-8602-46AD-B797-5EAFDCDBDC85}"/>
              </a:ext>
            </a:extLst>
          </p:cNvPr>
          <p:cNvSpPr txBox="1"/>
          <p:nvPr/>
        </p:nvSpPr>
        <p:spPr>
          <a:xfrm>
            <a:off x="1" y="2900574"/>
            <a:ext cx="5746282" cy="523220"/>
          </a:xfrm>
          <a:prstGeom prst="rect">
            <a:avLst/>
          </a:prstGeom>
          <a:noFill/>
        </p:spPr>
        <p:txBody>
          <a:bodyPr wrap="square" rtlCol="0">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lumMod val="95000"/>
                  </a:prstClr>
                </a:solidFill>
                <a:effectLst/>
                <a:uLnTx/>
                <a:uFillTx/>
                <a:latin typeface="Poppins" panose="00000500000000000000" pitchFamily="2" charset="0"/>
                <a:ea typeface="MS Gothic" panose="020B0609070205080204" pitchFamily="49" charset="-128"/>
                <a:cs typeface="Poppins" panose="00000500000000000000" pitchFamily="2" charset="0"/>
              </a:rPr>
              <a:t>Trade Marketing Plans </a:t>
            </a:r>
          </a:p>
        </p:txBody>
      </p:sp>
      <p:sp>
        <p:nvSpPr>
          <p:cNvPr id="17" name="TextBox 16">
            <a:extLst>
              <a:ext uri="{FF2B5EF4-FFF2-40B4-BE49-F238E27FC236}">
                <a16:creationId xmlns:a16="http://schemas.microsoft.com/office/drawing/2014/main" id="{5E97F481-60A8-4455-BC7E-3C6E20C88789}"/>
              </a:ext>
            </a:extLst>
          </p:cNvPr>
          <p:cNvSpPr txBox="1"/>
          <p:nvPr/>
        </p:nvSpPr>
        <p:spPr>
          <a:xfrm>
            <a:off x="143391" y="5440664"/>
            <a:ext cx="5468645" cy="369332"/>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Lato Light" panose="020F0502020204030203"/>
                <a:ea typeface="+mn-ea"/>
                <a:cs typeface="+mn-cs"/>
              </a:rPr>
              <a:t>Sales &amp; Marketing Fundamentals. </a:t>
            </a:r>
          </a:p>
        </p:txBody>
      </p:sp>
      <p:sp>
        <p:nvSpPr>
          <p:cNvPr id="11" name="Rectangle 10">
            <a:extLst>
              <a:ext uri="{FF2B5EF4-FFF2-40B4-BE49-F238E27FC236}">
                <a16:creationId xmlns:a16="http://schemas.microsoft.com/office/drawing/2014/main" id="{A8F0AC1C-972A-F2F9-95B2-6197829C058C}"/>
              </a:ext>
            </a:extLst>
          </p:cNvPr>
          <p:cNvSpPr/>
          <p:nvPr/>
        </p:nvSpPr>
        <p:spPr>
          <a:xfrm>
            <a:off x="0" y="5937662"/>
            <a:ext cx="5760000" cy="92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Lato Light"/>
              <a:ea typeface="+mn-ea"/>
              <a:cs typeface="+mn-cs"/>
            </a:endParaRPr>
          </a:p>
        </p:txBody>
      </p:sp>
      <p:sp>
        <p:nvSpPr>
          <p:cNvPr id="21" name="TextBox 20">
            <a:extLst>
              <a:ext uri="{FF2B5EF4-FFF2-40B4-BE49-F238E27FC236}">
                <a16:creationId xmlns:a16="http://schemas.microsoft.com/office/drawing/2014/main" id="{C2B943F9-3DF2-7055-7DC5-9F94603624AD}"/>
              </a:ext>
            </a:extLst>
          </p:cNvPr>
          <p:cNvSpPr txBox="1"/>
          <p:nvPr/>
        </p:nvSpPr>
        <p:spPr>
          <a:xfrm>
            <a:off x="-171198" y="6037266"/>
            <a:ext cx="2701337" cy="584775"/>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Lato Light" panose="020F0502020204030203"/>
                <a:ea typeface="+mn-ea"/>
                <a:cs typeface="+mn-cs"/>
              </a:rPr>
              <a:t>UpskilPRO e Institute for Sales &amp; Marketing </a:t>
            </a:r>
          </a:p>
        </p:txBody>
      </p:sp>
      <p:grpSp>
        <p:nvGrpSpPr>
          <p:cNvPr id="2" name="Group 1">
            <a:extLst>
              <a:ext uri="{FF2B5EF4-FFF2-40B4-BE49-F238E27FC236}">
                <a16:creationId xmlns:a16="http://schemas.microsoft.com/office/drawing/2014/main" id="{565B190F-2259-40D0-F0A3-463AF60102AE}"/>
              </a:ext>
            </a:extLst>
          </p:cNvPr>
          <p:cNvGrpSpPr/>
          <p:nvPr/>
        </p:nvGrpSpPr>
        <p:grpSpPr>
          <a:xfrm>
            <a:off x="5198734" y="4462162"/>
            <a:ext cx="1055370" cy="1055370"/>
            <a:chOff x="7108613" y="4124330"/>
            <a:chExt cx="1055370" cy="1055370"/>
          </a:xfrm>
        </p:grpSpPr>
        <p:sp>
          <p:nvSpPr>
            <p:cNvPr id="3" name="Oval 2">
              <a:extLst>
                <a:ext uri="{FF2B5EF4-FFF2-40B4-BE49-F238E27FC236}">
                  <a16:creationId xmlns:a16="http://schemas.microsoft.com/office/drawing/2014/main" id="{B13CF234-3E26-BC0F-BA5E-5C9B9D6BA978}"/>
                </a:ext>
              </a:extLst>
            </p:cNvPr>
            <p:cNvSpPr/>
            <p:nvPr/>
          </p:nvSpPr>
          <p:spPr>
            <a:xfrm>
              <a:off x="7108613" y="4124330"/>
              <a:ext cx="1055370" cy="1055370"/>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Light"/>
                <a:ea typeface="+mn-ea"/>
                <a:cs typeface="+mn-cs"/>
              </a:endParaRPr>
            </a:p>
          </p:txBody>
        </p:sp>
        <p:sp>
          <p:nvSpPr>
            <p:cNvPr id="5" name="Google Shape;104;p13">
              <a:extLst>
                <a:ext uri="{FF2B5EF4-FFF2-40B4-BE49-F238E27FC236}">
                  <a16:creationId xmlns:a16="http://schemas.microsoft.com/office/drawing/2014/main" id="{FA2B2BC9-5BBF-801E-39A4-2BDB472C35DB}"/>
                </a:ext>
              </a:extLst>
            </p:cNvPr>
            <p:cNvSpPr/>
            <p:nvPr/>
          </p:nvSpPr>
          <p:spPr>
            <a:xfrm>
              <a:off x="7322078" y="4349750"/>
              <a:ext cx="631825" cy="550862"/>
            </a:xfrm>
            <a:custGeom>
              <a:avLst/>
              <a:gdLst/>
              <a:ahLst/>
              <a:cxnLst/>
              <a:rect l="l" t="t" r="r" b="b"/>
              <a:pathLst>
                <a:path w="145" h="126" extrusionOk="0">
                  <a:moveTo>
                    <a:pt x="129" y="126"/>
                  </a:moveTo>
                  <a:cubicBezTo>
                    <a:pt x="17" y="126"/>
                    <a:pt x="17" y="126"/>
                    <a:pt x="17" y="126"/>
                  </a:cubicBezTo>
                  <a:cubicBezTo>
                    <a:pt x="8" y="126"/>
                    <a:pt x="0" y="118"/>
                    <a:pt x="0" y="109"/>
                  </a:cubicBezTo>
                  <a:cubicBezTo>
                    <a:pt x="0" y="81"/>
                    <a:pt x="0" y="81"/>
                    <a:pt x="0" y="81"/>
                  </a:cubicBezTo>
                  <a:cubicBezTo>
                    <a:pt x="0" y="80"/>
                    <a:pt x="1" y="78"/>
                    <a:pt x="3" y="78"/>
                  </a:cubicBezTo>
                  <a:cubicBezTo>
                    <a:pt x="5" y="78"/>
                    <a:pt x="6" y="80"/>
                    <a:pt x="6" y="81"/>
                  </a:cubicBezTo>
                  <a:cubicBezTo>
                    <a:pt x="6" y="109"/>
                    <a:pt x="6" y="109"/>
                    <a:pt x="6" y="109"/>
                  </a:cubicBezTo>
                  <a:cubicBezTo>
                    <a:pt x="6" y="115"/>
                    <a:pt x="11" y="120"/>
                    <a:pt x="17" y="120"/>
                  </a:cubicBezTo>
                  <a:cubicBezTo>
                    <a:pt x="129" y="120"/>
                    <a:pt x="129" y="120"/>
                    <a:pt x="129" y="120"/>
                  </a:cubicBezTo>
                  <a:cubicBezTo>
                    <a:pt x="134" y="120"/>
                    <a:pt x="139" y="115"/>
                    <a:pt x="139" y="109"/>
                  </a:cubicBezTo>
                  <a:cubicBezTo>
                    <a:pt x="139" y="82"/>
                    <a:pt x="139" y="82"/>
                    <a:pt x="139" y="82"/>
                  </a:cubicBezTo>
                  <a:cubicBezTo>
                    <a:pt x="139" y="80"/>
                    <a:pt x="141" y="79"/>
                    <a:pt x="142" y="79"/>
                  </a:cubicBezTo>
                  <a:cubicBezTo>
                    <a:pt x="144" y="79"/>
                    <a:pt x="145" y="80"/>
                    <a:pt x="145" y="82"/>
                  </a:cubicBezTo>
                  <a:cubicBezTo>
                    <a:pt x="145" y="109"/>
                    <a:pt x="145" y="109"/>
                    <a:pt x="145" y="109"/>
                  </a:cubicBezTo>
                  <a:cubicBezTo>
                    <a:pt x="145" y="118"/>
                    <a:pt x="138" y="126"/>
                    <a:pt x="129" y="126"/>
                  </a:cubicBezTo>
                  <a:close/>
                  <a:moveTo>
                    <a:pt x="79" y="90"/>
                  </a:moveTo>
                  <a:cubicBezTo>
                    <a:pt x="67" y="90"/>
                    <a:pt x="67" y="90"/>
                    <a:pt x="67" y="90"/>
                  </a:cubicBezTo>
                  <a:cubicBezTo>
                    <a:pt x="62" y="90"/>
                    <a:pt x="59" y="86"/>
                    <a:pt x="59" y="81"/>
                  </a:cubicBezTo>
                  <a:cubicBezTo>
                    <a:pt x="59" y="67"/>
                    <a:pt x="59" y="67"/>
                    <a:pt x="59" y="67"/>
                  </a:cubicBezTo>
                  <a:cubicBezTo>
                    <a:pt x="59" y="62"/>
                    <a:pt x="62" y="58"/>
                    <a:pt x="67" y="58"/>
                  </a:cubicBezTo>
                  <a:cubicBezTo>
                    <a:pt x="79" y="58"/>
                    <a:pt x="79" y="58"/>
                    <a:pt x="79" y="58"/>
                  </a:cubicBezTo>
                  <a:cubicBezTo>
                    <a:pt x="83" y="58"/>
                    <a:pt x="87" y="62"/>
                    <a:pt x="87" y="67"/>
                  </a:cubicBezTo>
                  <a:cubicBezTo>
                    <a:pt x="87" y="81"/>
                    <a:pt x="87" y="81"/>
                    <a:pt x="87" y="81"/>
                  </a:cubicBezTo>
                  <a:cubicBezTo>
                    <a:pt x="87" y="86"/>
                    <a:pt x="83" y="90"/>
                    <a:pt x="79" y="90"/>
                  </a:cubicBezTo>
                  <a:close/>
                  <a:moveTo>
                    <a:pt x="67" y="64"/>
                  </a:moveTo>
                  <a:cubicBezTo>
                    <a:pt x="66" y="64"/>
                    <a:pt x="65" y="65"/>
                    <a:pt x="65" y="67"/>
                  </a:cubicBezTo>
                  <a:cubicBezTo>
                    <a:pt x="65" y="81"/>
                    <a:pt x="65" y="81"/>
                    <a:pt x="65" y="81"/>
                  </a:cubicBezTo>
                  <a:cubicBezTo>
                    <a:pt x="65" y="83"/>
                    <a:pt x="66" y="84"/>
                    <a:pt x="67" y="84"/>
                  </a:cubicBezTo>
                  <a:cubicBezTo>
                    <a:pt x="79" y="84"/>
                    <a:pt x="79" y="84"/>
                    <a:pt x="79" y="84"/>
                  </a:cubicBezTo>
                  <a:cubicBezTo>
                    <a:pt x="80" y="84"/>
                    <a:pt x="81" y="83"/>
                    <a:pt x="81" y="81"/>
                  </a:cubicBezTo>
                  <a:cubicBezTo>
                    <a:pt x="81" y="67"/>
                    <a:pt x="81" y="67"/>
                    <a:pt x="81" y="67"/>
                  </a:cubicBezTo>
                  <a:cubicBezTo>
                    <a:pt x="81" y="65"/>
                    <a:pt x="80" y="64"/>
                    <a:pt x="79" y="64"/>
                  </a:cubicBezTo>
                  <a:lnTo>
                    <a:pt x="67" y="64"/>
                  </a:lnTo>
                  <a:close/>
                  <a:moveTo>
                    <a:pt x="129" y="77"/>
                  </a:moveTo>
                  <a:cubicBezTo>
                    <a:pt x="96" y="77"/>
                    <a:pt x="96" y="77"/>
                    <a:pt x="96" y="77"/>
                  </a:cubicBezTo>
                  <a:cubicBezTo>
                    <a:pt x="94" y="77"/>
                    <a:pt x="93" y="76"/>
                    <a:pt x="93" y="74"/>
                  </a:cubicBezTo>
                  <a:cubicBezTo>
                    <a:pt x="93" y="72"/>
                    <a:pt x="94" y="71"/>
                    <a:pt x="96" y="71"/>
                  </a:cubicBezTo>
                  <a:cubicBezTo>
                    <a:pt x="129" y="71"/>
                    <a:pt x="129" y="71"/>
                    <a:pt x="129" y="71"/>
                  </a:cubicBezTo>
                  <a:cubicBezTo>
                    <a:pt x="134" y="71"/>
                    <a:pt x="139" y="66"/>
                    <a:pt x="139" y="60"/>
                  </a:cubicBezTo>
                  <a:cubicBezTo>
                    <a:pt x="139" y="39"/>
                    <a:pt x="139" y="39"/>
                    <a:pt x="139" y="39"/>
                  </a:cubicBezTo>
                  <a:cubicBezTo>
                    <a:pt x="139" y="33"/>
                    <a:pt x="134" y="28"/>
                    <a:pt x="129" y="28"/>
                  </a:cubicBezTo>
                  <a:cubicBezTo>
                    <a:pt x="17" y="28"/>
                    <a:pt x="17" y="28"/>
                    <a:pt x="17" y="28"/>
                  </a:cubicBezTo>
                  <a:cubicBezTo>
                    <a:pt x="11" y="28"/>
                    <a:pt x="6" y="33"/>
                    <a:pt x="6" y="39"/>
                  </a:cubicBezTo>
                  <a:cubicBezTo>
                    <a:pt x="6" y="60"/>
                    <a:pt x="6" y="60"/>
                    <a:pt x="6" y="60"/>
                  </a:cubicBezTo>
                  <a:cubicBezTo>
                    <a:pt x="6" y="66"/>
                    <a:pt x="11" y="71"/>
                    <a:pt x="17" y="71"/>
                  </a:cubicBezTo>
                  <a:cubicBezTo>
                    <a:pt x="50" y="71"/>
                    <a:pt x="50" y="71"/>
                    <a:pt x="50" y="71"/>
                  </a:cubicBezTo>
                  <a:cubicBezTo>
                    <a:pt x="52" y="71"/>
                    <a:pt x="53" y="72"/>
                    <a:pt x="53" y="74"/>
                  </a:cubicBezTo>
                  <a:cubicBezTo>
                    <a:pt x="53" y="76"/>
                    <a:pt x="52" y="77"/>
                    <a:pt x="50" y="77"/>
                  </a:cubicBezTo>
                  <a:cubicBezTo>
                    <a:pt x="17" y="77"/>
                    <a:pt x="17" y="77"/>
                    <a:pt x="17" y="77"/>
                  </a:cubicBezTo>
                  <a:cubicBezTo>
                    <a:pt x="8" y="77"/>
                    <a:pt x="0" y="70"/>
                    <a:pt x="0" y="60"/>
                  </a:cubicBezTo>
                  <a:cubicBezTo>
                    <a:pt x="0" y="39"/>
                    <a:pt x="0" y="39"/>
                    <a:pt x="0" y="39"/>
                  </a:cubicBezTo>
                  <a:cubicBezTo>
                    <a:pt x="0" y="30"/>
                    <a:pt x="8" y="22"/>
                    <a:pt x="17" y="22"/>
                  </a:cubicBezTo>
                  <a:cubicBezTo>
                    <a:pt x="129" y="22"/>
                    <a:pt x="129" y="22"/>
                    <a:pt x="129" y="22"/>
                  </a:cubicBezTo>
                  <a:cubicBezTo>
                    <a:pt x="138" y="22"/>
                    <a:pt x="145" y="30"/>
                    <a:pt x="145" y="39"/>
                  </a:cubicBezTo>
                  <a:cubicBezTo>
                    <a:pt x="145" y="63"/>
                    <a:pt x="145" y="63"/>
                    <a:pt x="145" y="63"/>
                  </a:cubicBezTo>
                  <a:cubicBezTo>
                    <a:pt x="145" y="63"/>
                    <a:pt x="145" y="64"/>
                    <a:pt x="145" y="64"/>
                  </a:cubicBezTo>
                  <a:cubicBezTo>
                    <a:pt x="143" y="72"/>
                    <a:pt x="137" y="77"/>
                    <a:pt x="129" y="77"/>
                  </a:cubicBezTo>
                  <a:close/>
                  <a:moveTo>
                    <a:pt x="97" y="17"/>
                  </a:moveTo>
                  <a:cubicBezTo>
                    <a:pt x="95" y="17"/>
                    <a:pt x="94" y="15"/>
                    <a:pt x="94" y="13"/>
                  </a:cubicBezTo>
                  <a:cubicBezTo>
                    <a:pt x="94" y="9"/>
                    <a:pt x="90" y="6"/>
                    <a:pt x="85" y="6"/>
                  </a:cubicBezTo>
                  <a:cubicBezTo>
                    <a:pt x="61" y="6"/>
                    <a:pt x="61" y="6"/>
                    <a:pt x="61" y="6"/>
                  </a:cubicBezTo>
                  <a:cubicBezTo>
                    <a:pt x="56" y="6"/>
                    <a:pt x="52" y="9"/>
                    <a:pt x="52" y="13"/>
                  </a:cubicBezTo>
                  <a:cubicBezTo>
                    <a:pt x="52" y="15"/>
                    <a:pt x="50" y="17"/>
                    <a:pt x="49" y="17"/>
                  </a:cubicBezTo>
                  <a:cubicBezTo>
                    <a:pt x="47" y="17"/>
                    <a:pt x="45" y="15"/>
                    <a:pt x="45" y="13"/>
                  </a:cubicBezTo>
                  <a:cubicBezTo>
                    <a:pt x="45" y="6"/>
                    <a:pt x="52" y="0"/>
                    <a:pt x="61" y="0"/>
                  </a:cubicBezTo>
                  <a:cubicBezTo>
                    <a:pt x="85" y="0"/>
                    <a:pt x="85" y="0"/>
                    <a:pt x="85" y="0"/>
                  </a:cubicBezTo>
                  <a:cubicBezTo>
                    <a:pt x="93" y="0"/>
                    <a:pt x="100" y="6"/>
                    <a:pt x="100" y="13"/>
                  </a:cubicBezTo>
                  <a:cubicBezTo>
                    <a:pt x="100" y="15"/>
                    <a:pt x="99" y="17"/>
                    <a:pt x="97" y="17"/>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grpSp>
      <p:grpSp>
        <p:nvGrpSpPr>
          <p:cNvPr id="10" name="Group 9">
            <a:extLst>
              <a:ext uri="{FF2B5EF4-FFF2-40B4-BE49-F238E27FC236}">
                <a16:creationId xmlns:a16="http://schemas.microsoft.com/office/drawing/2014/main" id="{60A4C5DD-01B8-0662-32B9-12366D78B57D}"/>
              </a:ext>
            </a:extLst>
          </p:cNvPr>
          <p:cNvGrpSpPr/>
          <p:nvPr/>
        </p:nvGrpSpPr>
        <p:grpSpPr>
          <a:xfrm>
            <a:off x="6720341" y="2359285"/>
            <a:ext cx="4623902" cy="1584927"/>
            <a:chOff x="6438987" y="2499961"/>
            <a:chExt cx="4623902" cy="1584927"/>
          </a:xfrm>
        </p:grpSpPr>
        <p:sp>
          <p:nvSpPr>
            <p:cNvPr id="7" name="Rectangle 6">
              <a:extLst>
                <a:ext uri="{FF2B5EF4-FFF2-40B4-BE49-F238E27FC236}">
                  <a16:creationId xmlns:a16="http://schemas.microsoft.com/office/drawing/2014/main" id="{693BF65E-9573-1BDA-9CE4-E021C94FC7F8}"/>
                </a:ext>
              </a:extLst>
            </p:cNvPr>
            <p:cNvSpPr/>
            <p:nvPr/>
          </p:nvSpPr>
          <p:spPr>
            <a:xfrm>
              <a:off x="6833226" y="2499961"/>
              <a:ext cx="4229663" cy="43693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pic>
          <p:nvPicPr>
            <p:cNvPr id="1026" name="Picture 2" descr="SCM banner web icon vector illustration concept for Supply Chain Management with icon of management, analysis, logistic, ttm, plan, distribution, procurement, and profit&#10;                        ">
              <a:extLst>
                <a:ext uri="{FF2B5EF4-FFF2-40B4-BE49-F238E27FC236}">
                  <a16:creationId xmlns:a16="http://schemas.microsoft.com/office/drawing/2014/main" id="{A7B5B334-856E-AAF4-5600-49BD4A9903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7250" y="2826525"/>
              <a:ext cx="4210272" cy="125836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ADE08CAB-FF94-7504-9663-87897CF9C15A}"/>
                </a:ext>
              </a:extLst>
            </p:cNvPr>
            <p:cNvSpPr/>
            <p:nvPr/>
          </p:nvSpPr>
          <p:spPr>
            <a:xfrm>
              <a:off x="6638192" y="2809142"/>
              <a:ext cx="4198327" cy="58029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BD7AA0B0-B891-B97B-6E9D-8856CC601784}"/>
                </a:ext>
              </a:extLst>
            </p:cNvPr>
            <p:cNvSpPr txBox="1"/>
            <p:nvPr/>
          </p:nvSpPr>
          <p:spPr>
            <a:xfrm>
              <a:off x="6438987" y="3022911"/>
              <a:ext cx="4605628" cy="400110"/>
            </a:xfrm>
            <a:prstGeom prst="rect">
              <a:avLst/>
            </a:prstGeom>
            <a:solidFill>
              <a:schemeClr val="bg1">
                <a:alpha val="1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lumMod val="65000"/>
                      <a:lumOff val="35000"/>
                    </a:prstClr>
                  </a:solidFill>
                  <a:effectLst/>
                  <a:uLnTx/>
                  <a:uFillTx/>
                  <a:latin typeface="Poppins" panose="00000500000000000000" pitchFamily="2" charset="0"/>
                  <a:ea typeface="+mn-ea"/>
                  <a:cs typeface="Poppins" panose="00000500000000000000" pitchFamily="2" charset="0"/>
                </a:rPr>
                <a:t>Trade Marketing Plans </a:t>
              </a:r>
            </a:p>
          </p:txBody>
        </p:sp>
      </p:grpSp>
    </p:spTree>
    <p:extLst>
      <p:ext uri="{BB962C8B-B14F-4D97-AF65-F5344CB8AC3E}">
        <p14:creationId xmlns:p14="http://schemas.microsoft.com/office/powerpoint/2010/main" val="17273571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5B63F72-B9D1-63CC-4A40-32263F862A05}"/>
              </a:ext>
            </a:extLst>
          </p:cNvPr>
          <p:cNvSpPr txBox="1"/>
          <p:nvPr/>
        </p:nvSpPr>
        <p:spPr>
          <a:xfrm>
            <a:off x="1488352" y="1663857"/>
            <a:ext cx="7126259"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Corporate objectives usually contain at least the following el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ato Light"/>
                <a:ea typeface="+mn-ea"/>
                <a:cs typeface="+mn-cs"/>
              </a:rPr>
              <a:t>Such a corporate plan, containing projected profit and loss accounts and balance sheets, being the result of the process described above, is more likely to provide long-term stability for a company than plans based on a more intuitive process containing forecasts , technologies , trends etc</a:t>
            </a:r>
          </a:p>
        </p:txBody>
      </p:sp>
      <p:sp>
        <p:nvSpPr>
          <p:cNvPr id="9" name="TextBox 8">
            <a:extLst>
              <a:ext uri="{FF2B5EF4-FFF2-40B4-BE49-F238E27FC236}">
                <a16:creationId xmlns:a16="http://schemas.microsoft.com/office/drawing/2014/main" id="{0B79DE15-B058-C1FF-2F31-51AA1A879FA0}"/>
              </a:ext>
            </a:extLst>
          </p:cNvPr>
          <p:cNvSpPr txBox="1"/>
          <p:nvPr/>
        </p:nvSpPr>
        <p:spPr>
          <a:xfrm>
            <a:off x="240367" y="13164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ning Process</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rporate Objectives </a:t>
            </a:r>
          </a:p>
        </p:txBody>
      </p:sp>
      <p:pic>
        <p:nvPicPr>
          <p:cNvPr id="10" name="Picture 9" descr="Logo&#10;&#10;Description automatically generated">
            <a:extLst>
              <a:ext uri="{FF2B5EF4-FFF2-40B4-BE49-F238E27FC236}">
                <a16:creationId xmlns:a16="http://schemas.microsoft.com/office/drawing/2014/main" id="{47A9571C-2C60-2AA2-291A-F74F2A423F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11" name="Footer Placeholder 3">
            <a:extLst>
              <a:ext uri="{FF2B5EF4-FFF2-40B4-BE49-F238E27FC236}">
                <a16:creationId xmlns:a16="http://schemas.microsoft.com/office/drawing/2014/main" id="{BD030F87-1556-D2FB-80BC-C83920CB6ACE}"/>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pic>
        <p:nvPicPr>
          <p:cNvPr id="13" name="Picture 12" descr="Logo, icon&#10;&#10;Description automatically generated">
            <a:extLst>
              <a:ext uri="{FF2B5EF4-FFF2-40B4-BE49-F238E27FC236}">
                <a16:creationId xmlns:a16="http://schemas.microsoft.com/office/drawing/2014/main" id="{4F16F143-7D60-ED58-47D4-66A69FD75ADD}"/>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56140" t="24440" r="9698" b="23449"/>
          <a:stretch/>
        </p:blipFill>
        <p:spPr>
          <a:xfrm>
            <a:off x="1228725" y="3009900"/>
            <a:ext cx="1123950" cy="1143000"/>
          </a:xfrm>
          <a:prstGeom prst="rect">
            <a:avLst/>
          </a:prstGeom>
        </p:spPr>
      </p:pic>
      <p:sp>
        <p:nvSpPr>
          <p:cNvPr id="14" name="TextBox 13">
            <a:extLst>
              <a:ext uri="{FF2B5EF4-FFF2-40B4-BE49-F238E27FC236}">
                <a16:creationId xmlns:a16="http://schemas.microsoft.com/office/drawing/2014/main" id="{0DC5A748-DD25-7590-D6C6-86AE431D4DA8}"/>
              </a:ext>
            </a:extLst>
          </p:cNvPr>
          <p:cNvSpPr txBox="1"/>
          <p:nvPr/>
        </p:nvSpPr>
        <p:spPr>
          <a:xfrm>
            <a:off x="971906" y="4015901"/>
            <a:ext cx="1838325"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rpora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OBJECTIVES</a:t>
            </a:r>
          </a:p>
        </p:txBody>
      </p:sp>
      <p:grpSp>
        <p:nvGrpSpPr>
          <p:cNvPr id="33" name="Group 32">
            <a:extLst>
              <a:ext uri="{FF2B5EF4-FFF2-40B4-BE49-F238E27FC236}">
                <a16:creationId xmlns:a16="http://schemas.microsoft.com/office/drawing/2014/main" id="{06B9234C-F297-8F44-9D3C-C13CAA7C34E5}"/>
              </a:ext>
            </a:extLst>
          </p:cNvPr>
          <p:cNvGrpSpPr/>
          <p:nvPr/>
        </p:nvGrpSpPr>
        <p:grpSpPr>
          <a:xfrm>
            <a:off x="8377083" y="1700980"/>
            <a:ext cx="3549445" cy="3588775"/>
            <a:chOff x="8544232" y="1779638"/>
            <a:chExt cx="3549445" cy="3588775"/>
          </a:xfrm>
        </p:grpSpPr>
        <p:sp>
          <p:nvSpPr>
            <p:cNvPr id="27" name="Flowchart: Connector 26">
              <a:extLst>
                <a:ext uri="{FF2B5EF4-FFF2-40B4-BE49-F238E27FC236}">
                  <a16:creationId xmlns:a16="http://schemas.microsoft.com/office/drawing/2014/main" id="{1F70CFF3-D06A-98C1-C17B-2B438A45D8B9}"/>
                </a:ext>
              </a:extLst>
            </p:cNvPr>
            <p:cNvSpPr/>
            <p:nvPr/>
          </p:nvSpPr>
          <p:spPr>
            <a:xfrm>
              <a:off x="8544232" y="1779638"/>
              <a:ext cx="3549445" cy="3588775"/>
            </a:xfrm>
            <a:prstGeom prst="flowChartConnector">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28" name="Flowchart: Connector 27">
              <a:extLst>
                <a:ext uri="{FF2B5EF4-FFF2-40B4-BE49-F238E27FC236}">
                  <a16:creationId xmlns:a16="http://schemas.microsoft.com/office/drawing/2014/main" id="{07B1FAF9-F311-EA36-4B57-3EDF4A17018B}"/>
                </a:ext>
              </a:extLst>
            </p:cNvPr>
            <p:cNvSpPr/>
            <p:nvPr/>
          </p:nvSpPr>
          <p:spPr>
            <a:xfrm>
              <a:off x="9050593" y="2305664"/>
              <a:ext cx="2520000" cy="2520000"/>
            </a:xfrm>
            <a:prstGeom prst="flowChartConnector">
              <a:avLst/>
            </a:prstGeom>
            <a:solidFill>
              <a:srgbClr val="3984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29" name="Flowchart: Connector 28">
              <a:extLst>
                <a:ext uri="{FF2B5EF4-FFF2-40B4-BE49-F238E27FC236}">
                  <a16:creationId xmlns:a16="http://schemas.microsoft.com/office/drawing/2014/main" id="{4190F36E-024D-4D12-3750-1B9A1853462D}"/>
                </a:ext>
              </a:extLst>
            </p:cNvPr>
            <p:cNvSpPr/>
            <p:nvPr/>
          </p:nvSpPr>
          <p:spPr>
            <a:xfrm>
              <a:off x="9586451" y="2831690"/>
              <a:ext cx="1440000" cy="14400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sp>
          <p:nvSpPr>
            <p:cNvPr id="30" name="TextBox 29">
              <a:extLst>
                <a:ext uri="{FF2B5EF4-FFF2-40B4-BE49-F238E27FC236}">
                  <a16:creationId xmlns:a16="http://schemas.microsoft.com/office/drawing/2014/main" id="{C4B1C196-268C-1ACA-E2AA-E5772A3653A8}"/>
                </a:ext>
              </a:extLst>
            </p:cNvPr>
            <p:cNvSpPr txBox="1"/>
            <p:nvPr/>
          </p:nvSpPr>
          <p:spPr>
            <a:xfrm>
              <a:off x="9559941" y="3233940"/>
              <a:ext cx="1524000" cy="923330"/>
            </a:xfrm>
            <a:prstGeom prst="rect">
              <a:avLst/>
            </a:prstGeom>
            <a:noFill/>
          </p:spPr>
          <p:txBody>
            <a:bodyPr wrap="square" rtlCol="0">
              <a:spAutoFit/>
            </a:bodyPr>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Lato Light"/>
                  <a:ea typeface="+mn-ea"/>
                  <a:cs typeface="+mn-cs"/>
                </a:rPr>
                <a:t>Trade Marketing</a:t>
              </a:r>
            </a:p>
            <a:p>
              <a:pPr marL="0" marR="0" lvl="0" indent="0" algn="ctr" defTabSz="91417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a:ea typeface="+mn-ea"/>
                <a:cs typeface="+mn-cs"/>
              </a:endParaRPr>
            </a:p>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Lato Light"/>
                  <a:ea typeface="+mn-ea"/>
                  <a:cs typeface="+mn-cs"/>
                </a:rPr>
                <a:t>Focus on Markets / Customers &amp; </a:t>
              </a:r>
            </a:p>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Lato Light"/>
                  <a:ea typeface="+mn-ea"/>
                  <a:cs typeface="+mn-cs"/>
                </a:rPr>
                <a:t>Produc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Lato Light"/>
                <a:ea typeface="+mn-ea"/>
                <a:cs typeface="+mn-cs"/>
              </a:endParaRPr>
            </a:p>
          </p:txBody>
        </p:sp>
        <p:sp>
          <p:nvSpPr>
            <p:cNvPr id="31" name="TextBox 30">
              <a:extLst>
                <a:ext uri="{FF2B5EF4-FFF2-40B4-BE49-F238E27FC236}">
                  <a16:creationId xmlns:a16="http://schemas.microsoft.com/office/drawing/2014/main" id="{38C2EE7F-853A-8D6A-71E2-EDD9F3982E9B}"/>
                </a:ext>
              </a:extLst>
            </p:cNvPr>
            <p:cNvSpPr txBox="1"/>
            <p:nvPr/>
          </p:nvSpPr>
          <p:spPr>
            <a:xfrm>
              <a:off x="9330814" y="4203288"/>
              <a:ext cx="1936952" cy="507831"/>
            </a:xfrm>
            <a:prstGeom prst="rect">
              <a:avLst/>
            </a:prstGeom>
            <a:noFill/>
          </p:spPr>
          <p:txBody>
            <a:bodyPr wrap="square" rtlCol="0">
              <a:spAutoFit/>
            </a:bodyPr>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Lato Light"/>
                  <a:ea typeface="+mn-ea"/>
                  <a:cs typeface="+mn-cs"/>
                </a:rPr>
                <a:t>Business </a:t>
              </a:r>
            </a:p>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Lato Light"/>
                  <a:ea typeface="+mn-ea"/>
                  <a:cs typeface="+mn-cs"/>
                </a:rPr>
                <a:t>Focus resources which must be applied on your markets</a:t>
              </a:r>
              <a:endParaRPr kumimoji="0" lang="en-GB" sz="900" b="0" i="0" u="none" strike="noStrike" kern="1200" cap="none" spc="0" normalizeH="0" baseline="0" noProof="0" dirty="0">
                <a:ln>
                  <a:noFill/>
                </a:ln>
                <a:solidFill>
                  <a:prstClr val="black"/>
                </a:solidFill>
                <a:effectLst/>
                <a:uLnTx/>
                <a:uFillTx/>
                <a:latin typeface="Lato Light"/>
                <a:ea typeface="+mn-ea"/>
                <a:cs typeface="+mn-cs"/>
              </a:endParaRPr>
            </a:p>
          </p:txBody>
        </p:sp>
        <p:sp>
          <p:nvSpPr>
            <p:cNvPr id="32" name="TextBox 31">
              <a:extLst>
                <a:ext uri="{FF2B5EF4-FFF2-40B4-BE49-F238E27FC236}">
                  <a16:creationId xmlns:a16="http://schemas.microsoft.com/office/drawing/2014/main" id="{5720C7E8-969A-1E35-E2A0-9C6A3D030873}"/>
                </a:ext>
              </a:extLst>
            </p:cNvPr>
            <p:cNvSpPr txBox="1"/>
            <p:nvPr/>
          </p:nvSpPr>
          <p:spPr>
            <a:xfrm>
              <a:off x="9212824" y="4788308"/>
              <a:ext cx="2212260" cy="461665"/>
            </a:xfrm>
            <a:prstGeom prst="rect">
              <a:avLst/>
            </a:prstGeom>
            <a:noFill/>
          </p:spPr>
          <p:txBody>
            <a:bodyPr wrap="square" rtlCol="0">
              <a:spAutoFit/>
            </a:bodyPr>
            <a:lstStyle/>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Lato Light"/>
                  <a:ea typeface="+mn-ea"/>
                  <a:cs typeface="+mn-cs"/>
                </a:rPr>
                <a:t>Corporate </a:t>
              </a:r>
            </a:p>
            <a:p>
              <a:pPr marL="0" marR="0" lvl="0" indent="0" algn="ctr" defTabSz="914172"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Lato Light"/>
                  <a:ea typeface="+mn-ea"/>
                  <a:cs typeface="+mn-cs"/>
                </a:rPr>
                <a:t>This covers business plans based specifically on each business vertical </a:t>
              </a:r>
              <a:endParaRPr kumimoji="0" lang="en-GB" sz="800" b="0" i="0" u="none" strike="noStrike" kern="1200" cap="none" spc="0" normalizeH="0" baseline="0" noProof="0" dirty="0">
                <a:ln>
                  <a:noFill/>
                </a:ln>
                <a:solidFill>
                  <a:prstClr val="black"/>
                </a:solidFill>
                <a:effectLst/>
                <a:uLnTx/>
                <a:uFillTx/>
                <a:latin typeface="Lato Light"/>
                <a:ea typeface="+mn-ea"/>
                <a:cs typeface="+mn-cs"/>
              </a:endParaRPr>
            </a:p>
          </p:txBody>
        </p:sp>
      </p:grpSp>
      <p:sp>
        <p:nvSpPr>
          <p:cNvPr id="3" name="Rectangle: Rounded Corners 2">
            <a:extLst>
              <a:ext uri="{FF2B5EF4-FFF2-40B4-BE49-F238E27FC236}">
                <a16:creationId xmlns:a16="http://schemas.microsoft.com/office/drawing/2014/main" id="{8B1DE42F-235C-6247-9833-609774BAE32D}"/>
              </a:ext>
            </a:extLst>
          </p:cNvPr>
          <p:cNvSpPr/>
          <p:nvPr/>
        </p:nvSpPr>
        <p:spPr>
          <a:xfrm>
            <a:off x="3135601" y="3069137"/>
            <a:ext cx="4693343" cy="2699863"/>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Lato Light"/>
                <a:ea typeface="+mn-ea"/>
                <a:cs typeface="+mn-cs"/>
              </a:rPr>
              <a:t>Summar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Lato Ligh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The desired level of profit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Business boundarie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Lato Light"/>
                <a:ea typeface="+mn-ea"/>
                <a:cs typeface="+mn-cs"/>
              </a:rPr>
              <a:t>What kind of products will be sold to what kinds of market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Lato Light"/>
                <a:ea typeface="+mn-ea"/>
                <a:cs typeface="+mn-cs"/>
              </a:rPr>
              <a:t>(marketing)</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Lato Light"/>
                <a:ea typeface="+mn-ea"/>
                <a:cs typeface="+mn-cs"/>
              </a:rPr>
              <a:t>What kinds of facilities will be developed (operations, R&amp;D,</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Lato Light"/>
                <a:ea typeface="+mn-ea"/>
                <a:cs typeface="+mn-cs"/>
              </a:rPr>
              <a:t>information systems, distribution, etc.)</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Lato Light"/>
                <a:ea typeface="+mn-ea"/>
                <a:cs typeface="+mn-cs"/>
              </a:rPr>
              <a:t>The size and character of the labour force (personnel)</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Lato Light"/>
                <a:ea typeface="+mn-ea"/>
                <a:cs typeface="+mn-cs"/>
              </a:rPr>
              <a:t>Funding (fin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Other corporate objectives, such as social responsibility, corporate image, stock market image, employer image, etc.</a:t>
            </a:r>
            <a:endParaRPr kumimoji="0" lang="en-GB" sz="1200" b="0" i="0" u="none" strike="noStrike" kern="1200" cap="none" spc="0" normalizeH="0" baseline="0" noProof="0" dirty="0">
              <a:ln>
                <a:noFill/>
              </a:ln>
              <a:solidFill>
                <a:prstClr val="white"/>
              </a:solidFill>
              <a:effectLst/>
              <a:uLnTx/>
              <a:uFillTx/>
              <a:latin typeface="Lato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Lato Light"/>
              <a:ea typeface="+mn-ea"/>
              <a:cs typeface="+mn-cs"/>
            </a:endParaRPr>
          </a:p>
        </p:txBody>
      </p:sp>
    </p:spTree>
    <p:extLst>
      <p:ext uri="{BB962C8B-B14F-4D97-AF65-F5344CB8AC3E}">
        <p14:creationId xmlns:p14="http://schemas.microsoft.com/office/powerpoint/2010/main" val="11529311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BF0F4BD-E8CD-71F3-3380-02BBB88F0DF2}"/>
              </a:ext>
            </a:extLst>
          </p:cNvPr>
          <p:cNvSpPr txBox="1"/>
          <p:nvPr/>
        </p:nvSpPr>
        <p:spPr>
          <a:xfrm>
            <a:off x="981075" y="1418987"/>
            <a:ext cx="10344150"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A Trade marketing plan should begin with a mission or purpose stat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This is perhaps the most difficult aspect of trade marketing planning for managers to master, because it is largely philosophical and qualitative in nature. Many organizations find their different departments, and sometimes even different groups in the same department, pulling in different directions, often with poor results, simply because the organization hasn’t defined the boundaries of the business and the way it wishes to do busin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Lato Light"/>
              <a:ea typeface="+mn-ea"/>
              <a:cs typeface="+mn-cs"/>
            </a:endParaRPr>
          </a:p>
        </p:txBody>
      </p:sp>
      <p:sp>
        <p:nvSpPr>
          <p:cNvPr id="5" name="TextBox 4">
            <a:extLst>
              <a:ext uri="{FF2B5EF4-FFF2-40B4-BE49-F238E27FC236}">
                <a16:creationId xmlns:a16="http://schemas.microsoft.com/office/drawing/2014/main" id="{E6BD6161-7BF6-A561-6EA8-D9595D832635}"/>
              </a:ext>
            </a:extLst>
          </p:cNvPr>
          <p:cNvSpPr txBox="1"/>
          <p:nvPr/>
        </p:nvSpPr>
        <p:spPr>
          <a:xfrm>
            <a:off x="3124201" y="2491324"/>
            <a:ext cx="7896224" cy="36009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The following should appear in a mission or purpose statement, whi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should normally run to no more than one p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Role or contrib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Profit (specify), 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Service, 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Opportunity seek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000000"/>
                </a:solidFill>
                <a:effectLst/>
                <a:uLnTx/>
                <a:uFillTx/>
                <a:latin typeface="Lato Light"/>
                <a:ea typeface="+mn-ea"/>
                <a:cs typeface="+mn-cs"/>
              </a:rPr>
              <a:t>Business definition </a:t>
            </a:r>
            <a:r>
              <a:rPr kumimoji="0" lang="en-GB" sz="1200" b="0" i="0" u="none" strike="noStrike" kern="1200" cap="none" spc="0" normalizeH="0" baseline="0" noProof="0" dirty="0">
                <a:ln>
                  <a:noFill/>
                </a:ln>
                <a:solidFill>
                  <a:srgbClr val="000000"/>
                </a:solidFill>
                <a:effectLst/>
                <a:uLnTx/>
                <a:uFillTx/>
                <a:latin typeface="Lato Light"/>
                <a:ea typeface="+mn-ea"/>
                <a:cs typeface="+mn-cs"/>
              </a:rPr>
              <a:t>– define the business, preferably in terms of the </a:t>
            </a:r>
            <a:r>
              <a:rPr kumimoji="0" lang="en-GB" sz="1200" b="0" i="1" u="none" strike="noStrike" kern="1200" cap="none" spc="0" normalizeH="0" baseline="0" noProof="0" dirty="0">
                <a:ln>
                  <a:noFill/>
                </a:ln>
                <a:solidFill>
                  <a:srgbClr val="000000"/>
                </a:solidFill>
                <a:effectLst/>
                <a:uLnTx/>
                <a:uFillTx/>
                <a:latin typeface="Lato Light"/>
                <a:ea typeface="+mn-ea"/>
                <a:cs typeface="+mn-cs"/>
              </a:rPr>
              <a:t>benefi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you provide or the </a:t>
            </a:r>
            <a:r>
              <a:rPr kumimoji="0" lang="en-GB" sz="1200" b="0" i="1" u="none" strike="noStrike" kern="1200" cap="none" spc="0" normalizeH="0" baseline="0" noProof="0" dirty="0">
                <a:ln>
                  <a:noFill/>
                </a:ln>
                <a:solidFill>
                  <a:srgbClr val="000000"/>
                </a:solidFill>
                <a:effectLst/>
                <a:uLnTx/>
                <a:uFillTx/>
                <a:latin typeface="Lato Light"/>
                <a:ea typeface="+mn-ea"/>
                <a:cs typeface="+mn-cs"/>
              </a:rPr>
              <a:t>needs </a:t>
            </a:r>
            <a:r>
              <a:rPr kumimoji="0" lang="en-GB" sz="1200" b="0" i="0" u="none" strike="noStrike" kern="1200" cap="none" spc="0" normalizeH="0" baseline="0" noProof="0" dirty="0">
                <a:ln>
                  <a:noFill/>
                </a:ln>
                <a:solidFill>
                  <a:srgbClr val="000000"/>
                </a:solidFill>
                <a:effectLst/>
                <a:uLnTx/>
                <a:uFillTx/>
                <a:latin typeface="Lato Light"/>
                <a:ea typeface="+mn-ea"/>
                <a:cs typeface="+mn-cs"/>
              </a:rPr>
              <a:t>you satisfy, rather than in terms of what yo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mak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000000"/>
                </a:solidFill>
                <a:effectLst/>
                <a:uLnTx/>
                <a:uFillTx/>
                <a:latin typeface="Lato Light"/>
                <a:ea typeface="+mn-ea"/>
                <a:cs typeface="+mn-cs"/>
              </a:rPr>
              <a:t>Distinctive competences </a:t>
            </a:r>
            <a:r>
              <a:rPr kumimoji="0" lang="en-GB" sz="1200" b="0" i="0" u="none" strike="noStrike" kern="1200" cap="none" spc="0" normalizeH="0" baseline="0" noProof="0" dirty="0">
                <a:ln>
                  <a:noFill/>
                </a:ln>
                <a:solidFill>
                  <a:srgbClr val="000000"/>
                </a:solidFill>
                <a:effectLst/>
                <a:uLnTx/>
                <a:uFillTx/>
                <a:latin typeface="Lato Light"/>
                <a:ea typeface="+mn-ea"/>
                <a:cs typeface="+mn-cs"/>
              </a:rPr>
              <a:t>– these are the essential skills/capabilities resources that underpin whatever success has been achieved to d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Competence can consist of one particular item or the possession of a numb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of skills compared with competitors. If, however, you could equal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well put a competitor’s name to these distinctive competences, then th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are not distinctive compet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Indications for the futu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What the firm </a:t>
            </a:r>
            <a:r>
              <a:rPr kumimoji="0" lang="en-GB" sz="1200" b="0" i="1" u="none" strike="noStrike" kern="1200" cap="none" spc="0" normalizeH="0" baseline="0" noProof="0" dirty="0">
                <a:ln>
                  <a:noFill/>
                </a:ln>
                <a:solidFill>
                  <a:srgbClr val="000000"/>
                </a:solidFill>
                <a:effectLst/>
                <a:uLnTx/>
                <a:uFillTx/>
                <a:latin typeface="Lato Light"/>
                <a:ea typeface="+mn-ea"/>
                <a:cs typeface="+mn-cs"/>
              </a:rPr>
              <a:t>will </a:t>
            </a:r>
            <a:r>
              <a:rPr kumimoji="0" lang="en-GB" sz="1200" b="0" i="0" u="none" strike="noStrike" kern="1200" cap="none" spc="0" normalizeH="0" baseline="0" noProof="0" dirty="0">
                <a:ln>
                  <a:noFill/>
                </a:ln>
                <a:solidFill>
                  <a:srgbClr val="000000"/>
                </a:solidFill>
                <a:effectLst/>
                <a:uLnTx/>
                <a:uFillTx/>
                <a:latin typeface="Lato Light"/>
                <a:ea typeface="+mn-ea"/>
                <a:cs typeface="+mn-cs"/>
              </a:rPr>
              <a:t>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What the firm </a:t>
            </a:r>
            <a:r>
              <a:rPr kumimoji="0" lang="en-GB" sz="1200" b="0" i="1" u="none" strike="noStrike" kern="1200" cap="none" spc="0" normalizeH="0" baseline="0" noProof="0" dirty="0">
                <a:ln>
                  <a:noFill/>
                </a:ln>
                <a:solidFill>
                  <a:srgbClr val="000000"/>
                </a:solidFill>
                <a:effectLst/>
                <a:uLnTx/>
                <a:uFillTx/>
                <a:latin typeface="Lato Light"/>
                <a:ea typeface="+mn-ea"/>
                <a:cs typeface="+mn-cs"/>
              </a:rPr>
              <a:t>might </a:t>
            </a:r>
            <a:r>
              <a:rPr kumimoji="0" lang="en-GB" sz="1200" b="0" i="0" u="none" strike="noStrike" kern="1200" cap="none" spc="0" normalizeH="0" baseline="0" noProof="0" dirty="0">
                <a:ln>
                  <a:noFill/>
                </a:ln>
                <a:solidFill>
                  <a:srgbClr val="000000"/>
                </a:solidFill>
                <a:effectLst/>
                <a:uLnTx/>
                <a:uFillTx/>
                <a:latin typeface="Lato Light"/>
                <a:ea typeface="+mn-ea"/>
                <a:cs typeface="+mn-cs"/>
              </a:rPr>
              <a:t>d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Lato Light"/>
                <a:ea typeface="+mn-ea"/>
                <a:cs typeface="+mn-cs"/>
              </a:rPr>
              <a:t>What the firm will </a:t>
            </a:r>
            <a:r>
              <a:rPr kumimoji="0" lang="en-GB" sz="1200" b="0" i="1" u="none" strike="noStrike" kern="1200" cap="none" spc="0" normalizeH="0" baseline="0" noProof="0" dirty="0">
                <a:ln>
                  <a:noFill/>
                </a:ln>
                <a:solidFill>
                  <a:srgbClr val="000000"/>
                </a:solidFill>
                <a:effectLst/>
                <a:uLnTx/>
                <a:uFillTx/>
                <a:latin typeface="Lato Light"/>
                <a:ea typeface="+mn-ea"/>
                <a:cs typeface="+mn-cs"/>
              </a:rPr>
              <a:t>never </a:t>
            </a:r>
            <a:r>
              <a:rPr kumimoji="0" lang="en-GB" sz="1200" b="0" i="0" u="none" strike="noStrike" kern="1200" cap="none" spc="0" normalizeH="0" baseline="0" noProof="0" dirty="0">
                <a:ln>
                  <a:noFill/>
                </a:ln>
                <a:solidFill>
                  <a:srgbClr val="000000"/>
                </a:solidFill>
                <a:effectLst/>
                <a:uLnTx/>
                <a:uFillTx/>
                <a:latin typeface="Lato Light"/>
                <a:ea typeface="+mn-ea"/>
                <a:cs typeface="+mn-cs"/>
              </a:rPr>
              <a:t>do</a:t>
            </a:r>
            <a:endParaRPr kumimoji="0" lang="en-GB" sz="1200" b="0" i="0" u="none" strike="noStrike" kern="1200" cap="none" spc="0" normalizeH="0" baseline="0" noProof="0" dirty="0">
              <a:ln>
                <a:noFill/>
              </a:ln>
              <a:solidFill>
                <a:prstClr val="black"/>
              </a:solidFill>
              <a:effectLst/>
              <a:uLnTx/>
              <a:uFillTx/>
              <a:latin typeface="Lato Light"/>
              <a:ea typeface="+mn-ea"/>
              <a:cs typeface="+mn-cs"/>
            </a:endParaRPr>
          </a:p>
        </p:txBody>
      </p:sp>
      <p:sp>
        <p:nvSpPr>
          <p:cNvPr id="6" name="TextBox 5">
            <a:extLst>
              <a:ext uri="{FF2B5EF4-FFF2-40B4-BE49-F238E27FC236}">
                <a16:creationId xmlns:a16="http://schemas.microsoft.com/office/drawing/2014/main" id="{86E89523-510D-A75A-B0F8-5D5CE5E354F9}"/>
              </a:ext>
            </a:extLst>
          </p:cNvPr>
          <p:cNvSpPr txBox="1"/>
          <p:nvPr/>
        </p:nvSpPr>
        <p:spPr>
          <a:xfrm>
            <a:off x="11677650" y="6353175"/>
            <a:ext cx="4381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Lato Light"/>
                <a:ea typeface="+mn-ea"/>
                <a:cs typeface="+mn-cs"/>
              </a:rPr>
              <a:t>1</a:t>
            </a:r>
          </a:p>
        </p:txBody>
      </p:sp>
      <p:sp>
        <p:nvSpPr>
          <p:cNvPr id="7" name="TextBox 6">
            <a:extLst>
              <a:ext uri="{FF2B5EF4-FFF2-40B4-BE49-F238E27FC236}">
                <a16:creationId xmlns:a16="http://schemas.microsoft.com/office/drawing/2014/main" id="{C6DE4324-7CBF-A993-2ECB-8CB622909BED}"/>
              </a:ext>
            </a:extLst>
          </p:cNvPr>
          <p:cNvSpPr txBox="1"/>
          <p:nvPr/>
        </p:nvSpPr>
        <p:spPr>
          <a:xfrm>
            <a:off x="171450" y="463034"/>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986FC"/>
                </a:solidFill>
                <a:effectLst/>
                <a:uLnTx/>
                <a:uFillTx/>
                <a:latin typeface="Frutiger-Bold"/>
                <a:ea typeface="+mn-ea"/>
                <a:cs typeface="+mn-cs"/>
              </a:rPr>
              <a:t>Mission Statement </a:t>
            </a:r>
            <a:endParaRPr kumimoji="0" lang="en-GB" sz="1800" b="0" i="0" u="none" strike="noStrike" kern="1200" cap="none" spc="0" normalizeH="0" baseline="0" noProof="0" dirty="0">
              <a:ln>
                <a:noFill/>
              </a:ln>
              <a:solidFill>
                <a:prstClr val="black"/>
              </a:solidFill>
              <a:effectLst/>
              <a:uLnTx/>
              <a:uFillTx/>
              <a:latin typeface="Lato Light"/>
              <a:ea typeface="+mn-ea"/>
              <a:cs typeface="+mn-cs"/>
            </a:endParaRPr>
          </a:p>
        </p:txBody>
      </p:sp>
      <p:sp>
        <p:nvSpPr>
          <p:cNvPr id="8" name="TextBox 7">
            <a:extLst>
              <a:ext uri="{FF2B5EF4-FFF2-40B4-BE49-F238E27FC236}">
                <a16:creationId xmlns:a16="http://schemas.microsoft.com/office/drawing/2014/main" id="{D2BEED8B-A81F-5001-5FF3-FF3BAC24D8EB}"/>
              </a:ext>
            </a:extLst>
          </p:cNvPr>
          <p:cNvSpPr txBox="1"/>
          <p:nvPr/>
        </p:nvSpPr>
        <p:spPr>
          <a:xfrm>
            <a:off x="268942" y="207845"/>
            <a:ext cx="10056158" cy="800219"/>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Trade Marketing Plans</a:t>
            </a:r>
            <a:r>
              <a:rPr kumimoji="0" lang="en-GB" sz="3200" b="1" i="0" u="none" strike="noStrike" kern="1200" cap="none" spc="0" normalizeH="0" baseline="0" noProof="0" dirty="0">
                <a:ln>
                  <a:noFill/>
                </a:ln>
                <a:solidFill>
                  <a:srgbClr val="2A4A8B"/>
                </a:solidFill>
                <a:effectLst/>
                <a:uLnTx/>
                <a:uFillTx/>
                <a:latin typeface="Poppins" panose="00000500000000000000" pitchFamily="2" charset="0"/>
                <a:ea typeface="+mn-ea"/>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ission Statements </a:t>
            </a:r>
          </a:p>
        </p:txBody>
      </p:sp>
      <p:pic>
        <p:nvPicPr>
          <p:cNvPr id="9" name="Picture 8" descr="Logo&#10;&#10;Description automatically generated">
            <a:extLst>
              <a:ext uri="{FF2B5EF4-FFF2-40B4-BE49-F238E27FC236}">
                <a16:creationId xmlns:a16="http://schemas.microsoft.com/office/drawing/2014/main" id="{775F42AF-1B08-09EA-B4DD-BB31516FBF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10" name="Footer Placeholder 3">
            <a:extLst>
              <a:ext uri="{FF2B5EF4-FFF2-40B4-BE49-F238E27FC236}">
                <a16:creationId xmlns:a16="http://schemas.microsoft.com/office/drawing/2014/main" id="{AFD6B137-F511-713D-CC19-C944A784F425}"/>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Lato Light"/>
                <a:ea typeface="+mn-ea"/>
                <a:cs typeface="+mn-cs"/>
              </a:rPr>
              <a:t>www.upskilpro.com</a:t>
            </a:r>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grpSp>
        <p:nvGrpSpPr>
          <p:cNvPr id="13" name="Group 12">
            <a:extLst>
              <a:ext uri="{FF2B5EF4-FFF2-40B4-BE49-F238E27FC236}">
                <a16:creationId xmlns:a16="http://schemas.microsoft.com/office/drawing/2014/main" id="{40CCE016-F3AA-E02F-3250-2CB7ED9C4DD2}"/>
              </a:ext>
            </a:extLst>
          </p:cNvPr>
          <p:cNvGrpSpPr/>
          <p:nvPr/>
        </p:nvGrpSpPr>
        <p:grpSpPr>
          <a:xfrm>
            <a:off x="904874" y="3371850"/>
            <a:ext cx="1838325" cy="1094006"/>
            <a:chOff x="9763124" y="685800"/>
            <a:chExt cx="1838325" cy="1094006"/>
          </a:xfrm>
        </p:grpSpPr>
        <p:pic>
          <p:nvPicPr>
            <p:cNvPr id="1026" name="Picture 2" descr="Mission, vision and values flat style design icons signs web concepts vector illustration set isolated on white background. Web page template concepts for business company strategy and teamwork plan.">
              <a:extLst>
                <a:ext uri="{FF2B5EF4-FFF2-40B4-BE49-F238E27FC236}">
                  <a16:creationId xmlns:a16="http://schemas.microsoft.com/office/drawing/2014/main" id="{422D0087-F10D-FFFC-8F31-A04E9494DC98}"/>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7292" t="18750" r="70833" b="38750"/>
            <a:stretch/>
          </p:blipFill>
          <p:spPr bwMode="auto">
            <a:xfrm>
              <a:off x="10544175" y="685800"/>
              <a:ext cx="1000125" cy="97155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9B0BA05A-F3FE-69EF-4326-8EFB370849E1}"/>
                </a:ext>
              </a:extLst>
            </p:cNvPr>
            <p:cNvSpPr txBox="1"/>
            <p:nvPr/>
          </p:nvSpPr>
          <p:spPr>
            <a:xfrm>
              <a:off x="9763124" y="1133475"/>
              <a:ext cx="183832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iss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TATEMENT</a:t>
              </a:r>
            </a:p>
          </p:txBody>
        </p:sp>
      </p:grpSp>
    </p:spTree>
    <p:extLst>
      <p:ext uri="{BB962C8B-B14F-4D97-AF65-F5344CB8AC3E}">
        <p14:creationId xmlns:p14="http://schemas.microsoft.com/office/powerpoint/2010/main" val="19190238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HUJNiOteES9UyxHD1yy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yJkVoN3PkmkbAXSW_oZ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yJkVoN3PkmkbAXSW_oZ_A"/>
</p:tagLst>
</file>

<file path=ppt/theme/theme1.xml><?xml version="1.0" encoding="utf-8"?>
<a:theme xmlns:a="http://schemas.openxmlformats.org/drawingml/2006/main" name="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UpskilPRO">
      <a:majorFont>
        <a:latin typeface="Lato Light"/>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Office Theme">
  <a:themeElements>
    <a:clrScheme name="SW - TMV3 - Light">
      <a:dk1>
        <a:srgbClr val="272727"/>
      </a:dk1>
      <a:lt1>
        <a:srgbClr val="FFFFFF"/>
      </a:lt1>
      <a:dk2>
        <a:srgbClr val="000000"/>
      </a:dk2>
      <a:lt2>
        <a:srgbClr val="FFFFFF"/>
      </a:lt2>
      <a:accent1>
        <a:srgbClr val="27AC95"/>
      </a:accent1>
      <a:accent2>
        <a:srgbClr val="1BB1EC"/>
      </a:accent2>
      <a:accent3>
        <a:srgbClr val="0A67D4"/>
      </a:accent3>
      <a:accent4>
        <a:srgbClr val="0F51A9"/>
      </a:accent4>
      <a:accent5>
        <a:srgbClr val="2E2E2E"/>
      </a:accent5>
      <a:accent6>
        <a:srgbClr val="EBEBEB"/>
      </a:accent6>
      <a:hlink>
        <a:srgbClr val="32A79F"/>
      </a:hlink>
      <a:folHlink>
        <a:srgbClr val="89E1DE"/>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5.xml><?xml version="1.0" encoding="utf-8"?>
<a:theme xmlns:a="http://schemas.openxmlformats.org/drawingml/2006/main" name="3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UpskilPRO-2">
      <a:majorFont>
        <a:latin typeface="Lato Light"/>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4</TotalTime>
  <Words>8356</Words>
  <Application>Microsoft Office PowerPoint</Application>
  <PresentationFormat>Widescreen</PresentationFormat>
  <Paragraphs>1719</Paragraphs>
  <Slides>78</Slides>
  <Notes>0</Notes>
  <HiddenSlides>0</HiddenSlides>
  <MMClips>0</MMClips>
  <ScaleCrop>false</ScaleCrop>
  <HeadingPairs>
    <vt:vector size="6" baseType="variant">
      <vt:variant>
        <vt:lpstr>Fonts Used</vt:lpstr>
      </vt:variant>
      <vt:variant>
        <vt:i4>14</vt:i4>
      </vt:variant>
      <vt:variant>
        <vt:lpstr>Theme</vt:lpstr>
      </vt:variant>
      <vt:variant>
        <vt:i4>6</vt:i4>
      </vt:variant>
      <vt:variant>
        <vt:lpstr>Slide Titles</vt:lpstr>
      </vt:variant>
      <vt:variant>
        <vt:i4>78</vt:i4>
      </vt:variant>
    </vt:vector>
  </HeadingPairs>
  <TitlesOfParts>
    <vt:vector size="98" baseType="lpstr">
      <vt:lpstr>-apple-system</vt:lpstr>
      <vt:lpstr>Arial</vt:lpstr>
      <vt:lpstr>Arial Black</vt:lpstr>
      <vt:lpstr>Calibri</vt:lpstr>
      <vt:lpstr>Calibri Light</vt:lpstr>
      <vt:lpstr>Frutiger-Bold</vt:lpstr>
      <vt:lpstr>Inter</vt:lpstr>
      <vt:lpstr>Lato Light</vt:lpstr>
      <vt:lpstr>Lato Light</vt:lpstr>
      <vt:lpstr>Lato Long</vt:lpstr>
      <vt:lpstr>Open Sans Light</vt:lpstr>
      <vt:lpstr>Plato</vt:lpstr>
      <vt:lpstr>Poppins</vt:lpstr>
      <vt:lpstr>Söhne</vt:lpstr>
      <vt:lpstr>Office Theme</vt:lpstr>
      <vt:lpstr>1_Office Theme</vt:lpstr>
      <vt:lpstr>5_Office Theme</vt:lpstr>
      <vt:lpstr>6_Office Theme</vt:lpstr>
      <vt:lpstr>3_Office Theme</vt:lpstr>
      <vt:lpstr>2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darshan Chakravarthi</dc:creator>
  <cp:lastModifiedBy>Sudarshan C Raman</cp:lastModifiedBy>
  <cp:revision>1</cp:revision>
  <dcterms:created xsi:type="dcterms:W3CDTF">2023-03-22T13:02:30Z</dcterms:created>
  <dcterms:modified xsi:type="dcterms:W3CDTF">2023-12-25T12:48:43Z</dcterms:modified>
</cp:coreProperties>
</file>